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3.xml" ContentType="application/vnd.openxmlformats-officedocument.theme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6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9" r:id="rId4"/>
    <p:sldMasterId id="2147483848" r:id="rId5"/>
    <p:sldMasterId id="2147483903" r:id="rId6"/>
    <p:sldMasterId id="2147483955" r:id="rId7"/>
    <p:sldMasterId id="2147483993" r:id="rId8"/>
    <p:sldMasterId id="2147484045" r:id="rId9"/>
    <p:sldMasterId id="2147484102" r:id="rId10"/>
  </p:sldMasterIdLst>
  <p:notesMasterIdLst>
    <p:notesMasterId r:id="rId12"/>
  </p:notesMasterIdLst>
  <p:handoutMasterIdLst>
    <p:handoutMasterId r:id="rId13"/>
  </p:handoutMasterIdLst>
  <p:sldIdLst>
    <p:sldId id="256" r:id="rId11"/>
  </p:sldIdLst>
  <p:sldSz cx="12192000" cy="6858000"/>
  <p:notesSz cx="6858000" cy="9144000"/>
  <p:defaultTextStyle>
    <a:defPPr>
      <a:defRPr lang="en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37A4205-E7B9-B629-CDF0-7102EEA278F0}" name="Zayats, Michael (CT GLCP)" initials="MZ" userId="S::michael.zayats@hpe.com::60a3c493-c731-44d4-8951-bae9199d5687" providerId="AD"/>
  <p188:author id="{0070D2B6-5AFC-53B7-8A20-8A6C60D700D7}" name="Bhattacharya, Suparna" initials="SB" userId="S::suparna.bhattacharya@hpe.com::44cf870e-b072-488f-8fa4-7b665a83858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E0725"/>
    <a:srgbClr val="292D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520"/>
    <p:restoredTop sz="94670"/>
  </p:normalViewPr>
  <p:slideViewPr>
    <p:cSldViewPr snapToGrid="0">
      <p:cViewPr varScale="1">
        <p:scale>
          <a:sx n="117" d="100"/>
          <a:sy n="117" d="100"/>
        </p:scale>
        <p:origin x="48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handoutMaster" Target="handoutMasters/handoutMaster1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BE70EE-ABFF-7898-FF38-C1C649A57D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1C85076-C132-D0C4-F7C0-50C617DBDC8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3AD1A2-D870-8962-7D87-AA387B26B10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4050CF-DD4A-BEFB-2AF1-F594C68CFCD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75F8EC-3703-4D6A-8276-E9F606B6AE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50015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74650" y="143510"/>
            <a:ext cx="4140200" cy="22733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/>
            </a:lvl1pPr>
          </a:lstStyle>
          <a:p>
            <a:endParaRPr lang="en-P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679950" y="143510"/>
            <a:ext cx="1799590" cy="22733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endParaRPr lang="en-P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74650" y="50419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P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74650" y="3209290"/>
            <a:ext cx="6101080" cy="530072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74650" y="8747760"/>
            <a:ext cx="4878070" cy="22733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67400" y="8747760"/>
            <a:ext cx="608330" cy="22733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fld id="{20276FB5-B755-FF41-948A-F83E9AA573A8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7340600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lnSpc>
        <a:spcPct val="90000"/>
      </a:lnSpc>
      <a:spcAft>
        <a:spcPts val="400"/>
      </a:spcAft>
      <a:defRPr sz="105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lnSpc>
        <a:spcPct val="90000"/>
      </a:lnSpc>
      <a:spcAft>
        <a:spcPts val="4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lnSpc>
        <a:spcPct val="90000"/>
      </a:lnSpc>
      <a:spcAft>
        <a:spcPts val="400"/>
      </a:spcAft>
      <a:buFont typeface="HPE Graphik" pitchFamily="50" charset="0"/>
      <a:buChar char="—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lnSpc>
        <a:spcPct val="90000"/>
      </a:lnSpc>
      <a:spcAft>
        <a:spcPts val="400"/>
      </a:spcAft>
      <a:buFont typeface="HPE Graphik" pitchFamily="50" charset="0"/>
      <a:buChar char="—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lnSpc>
        <a:spcPct val="90000"/>
      </a:lnSpc>
      <a:spcAft>
        <a:spcPts val="4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" y="504825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276FB5-B755-FF41-948A-F83E9AA573A8}" type="slidenum">
              <a:rPr lang="en-PL" smtClean="0"/>
              <a:t>1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2429799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sv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0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1.bin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6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0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1.bin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sv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svg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6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pn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pn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svg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BE2E1BB-CE0A-BA4E-62F3-C11C72B14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4EC4B5E-61C1-0327-AC26-FD6B85B7F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6E81DF5-9D1C-2874-F10C-40090BD53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DEE9B376-05EC-3588-37E2-05C039D1F6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061C036-93AE-3BAB-6526-8E33EA4444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702D808-AF03-DEF9-0314-E4335A543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2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3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3C35D8-793D-910E-958E-12734E943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ABB62-7FB2-A10A-FB79-640977444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0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6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9"/>
            <a:ext cx="5676900" cy="3747262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714F5D-2F9A-82E8-FC18-7CB2687548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51A1E7-04E9-D26E-A5C3-735AE6D39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32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peaker contact information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83433" y="3392391"/>
            <a:ext cx="8188525" cy="8763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74903" y="2449576"/>
            <a:ext cx="8188525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F29566-5470-D3D8-0F61-D70F81B7E5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029473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12C5F0B4-0A38-5CD3-3BE3-3E3DBAF8B8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339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2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</a:t>
            </a:r>
            <a:r>
              <a:rPr lang="pl-PL"/>
              <a:t>light</a:t>
            </a:r>
            <a:r>
              <a:rPr lang="en-US"/>
              <a:t> pictur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489664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6EFF1468-8A78-B04B-E071-FC4D4C76A4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5000"/>
          </a:blip>
          <a:stretch>
            <a:fillRect/>
          </a:stretch>
        </p:blipFill>
        <p:spPr>
          <a:xfrm>
            <a:off x="0" y="1371600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3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dark pictur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588637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6A0C1C-FFFA-74C0-3719-4E6EA4C7BF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CAEB09-CC92-C4AF-AFC7-84F7B4C83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D3862E9-4343-21F9-03D0-319C0D76EE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155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0" bIns="91440"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DA1A1B8-63A0-5FF8-D94D-A64DF0037B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51E08A-0EC1-9757-9EC4-3B8B8A2FC0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04AA86-3390-5E05-F138-33B691BA0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698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292D3A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292D3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7513D-A3AB-F0E4-0CD1-28BE5E7621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D4E66E-34EA-3AC2-4F5C-196138F8CF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20F7DE3-5012-50D0-0EE0-FBB950E366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068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E461D8-0641-727D-F822-B1556D372F2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DC7940-ECD3-9B40-E568-B47ABAFA6A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831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5471598"/>
            <a:ext cx="8228011" cy="53340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1386402"/>
            <a:ext cx="7518482" cy="4085196"/>
          </a:xfrm>
        </p:spPr>
        <p:txBody>
          <a:bodyPr lIns="91440" anchor="ctr" anchorCtr="0"/>
          <a:lstStyle>
            <a:lvl1pPr marL="219456" indent="-219456">
              <a:defRPr sz="4000" b="0" cap="none" baseline="0">
                <a:latin typeface="HPE Graphik Light" pitchFamily="50" charset="0"/>
                <a:cs typeface="HPE Graphik Light" pitchFamily="50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2754E-094F-7C73-88B9-FF823BF830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CDFAF2-F03B-8CB9-A43F-2C8C54F552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919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7478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lement Image">
            <a:extLst>
              <a:ext uri="{FF2B5EF4-FFF2-40B4-BE49-F238E27FC236}">
                <a16:creationId xmlns:a16="http://schemas.microsoft.com/office/drawing/2014/main" id="{1A711596-B981-E895-2147-80AF02FC6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96" t="654" r="1416" b="120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51F0D95-92C8-F614-A840-CCF636DDB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5" y="393193"/>
            <a:ext cx="11433977" cy="946080"/>
          </a:xfrm>
        </p:spPr>
        <p:txBody>
          <a:bodyPr lIns="0" tIns="0" rIns="91440" bIns="0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Divider 4 (with picture)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D7B23CD-0964-2C4F-2645-F616DF81D0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C3AD242-1EDC-575F-5C91-FD24DABDD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751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DBAFB-7047-4B08-B7ED-CB050B7FBB50}"/>
              </a:ext>
            </a:extLst>
          </p:cNvPr>
          <p:cNvSpPr>
            <a:spLocks noGrp="1"/>
          </p:cNvSpPr>
          <p:nvPr userDrawn="1"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01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72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21415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93797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197493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6962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33777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035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1813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56276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165860"/>
            <a:ext cx="11404800" cy="5097600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B6C3F6-7864-1614-6433-B6E9205341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A371ED-2734-3586-C69F-E31DDE6FB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65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11613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4673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12802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69617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9244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88705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7138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1942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615014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48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42628" cy="775846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62CB2E-81D7-48A5-A15B-340BF48D2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268E2A-81AF-75F2-036F-19A286FA83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11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413616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1881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040817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18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6964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293988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958604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31668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262602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960740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49858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8652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58901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4437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02130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28810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308454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46810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004416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3291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6818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95F41DF-93F3-CDC9-2F09-5645DCF4B1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B1FDE8-1311-7248-18A8-D4800084C2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A4E9F6-3410-0A4E-80C1-A550B6D95A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8228B93E-9AAB-D047-1D10-C52AC4536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bIns="0" anchor="t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Content Placeholder">
            <a:extLst>
              <a:ext uri="{FF2B5EF4-FFF2-40B4-BE49-F238E27FC236}">
                <a16:creationId xmlns:a16="http://schemas.microsoft.com/office/drawing/2014/main" id="{AA8B383B-1E87-87BA-8652-6B7B1E2F64D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407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2790265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1278840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624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237656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 smtClean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62333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720535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95543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60">
            <a:extLst>
              <a:ext uri="{FF2B5EF4-FFF2-40B4-BE49-F238E27FC236}">
                <a16:creationId xmlns:a16="http://schemas.microsoft.com/office/drawing/2014/main" id="{7199A713-420D-8440-E9C8-52D7E1F2B0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0"/>
            <a:ext cx="12188952" cy="3467100"/>
          </a:xfrm>
          <a:custGeom>
            <a:avLst/>
            <a:gdLst>
              <a:gd name="connsiteX0" fmla="*/ 0 w 12215306"/>
              <a:gd name="connsiteY0" fmla="*/ 0 h 3429000"/>
              <a:gd name="connsiteX1" fmla="*/ 12215306 w 12215306"/>
              <a:gd name="connsiteY1" fmla="*/ 0 h 3429000"/>
              <a:gd name="connsiteX2" fmla="*/ 12215306 w 12215306"/>
              <a:gd name="connsiteY2" fmla="*/ 3429000 h 3429000"/>
              <a:gd name="connsiteX3" fmla="*/ 10839384 w 12215306"/>
              <a:gd name="connsiteY3" fmla="*/ 3429000 h 3429000"/>
              <a:gd name="connsiteX4" fmla="*/ 10839384 w 12215306"/>
              <a:gd name="connsiteY4" fmla="*/ 1375939 h 3429000"/>
              <a:gd name="connsiteX5" fmla="*/ 0 w 12215306"/>
              <a:gd name="connsiteY5" fmla="*/ 1375939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15306" h="3429000">
                <a:moveTo>
                  <a:pt x="0" y="0"/>
                </a:moveTo>
                <a:lnTo>
                  <a:pt x="12215306" y="0"/>
                </a:lnTo>
                <a:lnTo>
                  <a:pt x="12215306" y="3429000"/>
                </a:lnTo>
                <a:lnTo>
                  <a:pt x="10839384" y="3429000"/>
                </a:lnTo>
                <a:lnTo>
                  <a:pt x="10839384" y="1375939"/>
                </a:lnTo>
                <a:lnTo>
                  <a:pt x="0" y="1375939"/>
                </a:lnTo>
                <a:close/>
              </a:path>
            </a:pathLst>
          </a:custGeom>
          <a:gradFill>
            <a:gsLst>
              <a:gs pos="46000">
                <a:schemeClr val="accent4">
                  <a:lumMod val="75000"/>
                </a:schemeClr>
              </a:gs>
              <a:gs pos="39000">
                <a:srgbClr val="00E0AF"/>
              </a:gs>
              <a:gs pos="14000">
                <a:srgbClr val="05CC93"/>
              </a:gs>
              <a:gs pos="60000">
                <a:srgbClr val="0070F8"/>
              </a:gs>
              <a:gs pos="96552">
                <a:schemeClr val="tx1"/>
              </a:gs>
              <a:gs pos="87000">
                <a:schemeClr val="tx1">
                  <a:alpha val="0"/>
                </a:schemeClr>
              </a:gs>
            </a:gsLst>
            <a:lin ang="12000000" scaled="0"/>
          </a:gradFill>
        </p:spPr>
        <p:txBody>
          <a:bodyPr vert="horz" wrap="square" lIns="0" tIns="45720" rIns="0" bIns="45720" rtlCol="0">
            <a:noAutofit/>
          </a:bodyPr>
          <a:lstStyle>
            <a:lvl1pPr>
              <a:defRPr lang="en-US">
                <a:noFill/>
              </a:defRPr>
            </a:lvl1pPr>
            <a:lvl2pPr>
              <a:defRPr lang="en-US">
                <a:noFill/>
              </a:defRPr>
            </a:lvl2pPr>
            <a:lvl3pPr>
              <a:defRPr lang="en-US">
                <a:noFill/>
              </a:defRPr>
            </a:lvl3pPr>
            <a:lvl4pPr>
              <a:defRPr lang="en-US">
                <a:noFill/>
              </a:defRPr>
            </a:lvl4pPr>
            <a:lvl5pPr>
              <a:defRPr lang="en-US">
                <a:noFill/>
                <a:latin typeface="HPE Graphik Light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263">
            <a:extLst>
              <a:ext uri="{FF2B5EF4-FFF2-40B4-BE49-F238E27FC236}">
                <a16:creationId xmlns:a16="http://schemas.microsoft.com/office/drawing/2014/main" id="{CDB81F5E-3800-37B3-A279-50A58B93312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3397250"/>
            <a:ext cx="12188952" cy="3482445"/>
          </a:xfrm>
          <a:custGeom>
            <a:avLst/>
            <a:gdLst>
              <a:gd name="connsiteX0" fmla="*/ 10839384 w 12215306"/>
              <a:gd name="connsiteY0" fmla="*/ 0 h 3443475"/>
              <a:gd name="connsiteX1" fmla="*/ 12215306 w 12215306"/>
              <a:gd name="connsiteY1" fmla="*/ 0 h 3443475"/>
              <a:gd name="connsiteX2" fmla="*/ 12215306 w 12215306"/>
              <a:gd name="connsiteY2" fmla="*/ 3443475 h 3443475"/>
              <a:gd name="connsiteX3" fmla="*/ 0 w 12215306"/>
              <a:gd name="connsiteY3" fmla="*/ 3443475 h 3443475"/>
              <a:gd name="connsiteX4" fmla="*/ 0 w 12215306"/>
              <a:gd name="connsiteY4" fmla="*/ 2067536 h 3443475"/>
              <a:gd name="connsiteX5" fmla="*/ 10839384 w 12215306"/>
              <a:gd name="connsiteY5" fmla="*/ 2067536 h 344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15306" h="3443475">
                <a:moveTo>
                  <a:pt x="10839384" y="0"/>
                </a:moveTo>
                <a:lnTo>
                  <a:pt x="12215306" y="0"/>
                </a:lnTo>
                <a:lnTo>
                  <a:pt x="12215306" y="3443475"/>
                </a:lnTo>
                <a:lnTo>
                  <a:pt x="0" y="3443475"/>
                </a:lnTo>
                <a:lnTo>
                  <a:pt x="0" y="2067536"/>
                </a:lnTo>
                <a:lnTo>
                  <a:pt x="10839384" y="2067536"/>
                </a:lnTo>
                <a:close/>
              </a:path>
            </a:pathLst>
          </a:custGeom>
          <a:gradFill flip="none" rotWithShape="1">
            <a:gsLst>
              <a:gs pos="17000">
                <a:schemeClr val="tx1">
                  <a:alpha val="18945"/>
                </a:schemeClr>
              </a:gs>
              <a:gs pos="52000">
                <a:srgbClr val="05CC93"/>
              </a:gs>
            </a:gsLst>
            <a:lin ang="1800000" scaled="0"/>
            <a:tileRect/>
          </a:gradFill>
        </p:spPr>
        <p:txBody>
          <a:bodyPr vert="horz" wrap="square" lIns="0" tIns="45720" rIns="0" bIns="45720" rtlCol="0">
            <a:noAutofit/>
          </a:bodyPr>
          <a:lstStyle>
            <a:lvl1pPr>
              <a:defRPr lang="en-US" sz="100" smtClean="0">
                <a:noFill/>
              </a:defRPr>
            </a:lvl1pPr>
            <a:lvl2pPr>
              <a:defRPr lang="en-US" sz="100" smtClean="0">
                <a:noFill/>
              </a:defRPr>
            </a:lvl2pPr>
            <a:lvl3pPr>
              <a:defRPr lang="en-US" sz="100" smtClean="0">
                <a:noFill/>
              </a:defRPr>
            </a:lvl3pPr>
            <a:lvl4pPr>
              <a:defRPr lang="en-US" sz="100" smtClean="0">
                <a:noFill/>
              </a:defRPr>
            </a:lvl4pPr>
            <a:lvl5pPr>
              <a:defRPr lang="en-US" sz="100">
                <a:noFill/>
                <a:latin typeface="HPE Graphik Light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0512"/>
            <a:ext cx="9144000" cy="1581912"/>
          </a:xfrm>
        </p:spPr>
        <p:txBody>
          <a:bodyPr anchor="t"/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/>
              <a:t>Cover slide, graphic only, </a:t>
            </a:r>
            <a:br>
              <a:rPr lang="en-US"/>
            </a:br>
            <a:r>
              <a:rPr lang="en-US"/>
              <a:t>white type, </a:t>
            </a:r>
            <a:r>
              <a:rPr lang="en-US" err="1"/>
              <a:t>Graphik</a:t>
            </a:r>
            <a:r>
              <a:rPr lang="en-US"/>
              <a:t> Semibold</a:t>
            </a:r>
          </a:p>
        </p:txBody>
      </p:sp>
      <p:sp>
        <p:nvSpPr>
          <p:cNvPr id="3" name="Picture Placeholder 12">
            <a:extLst>
              <a:ext uri="{FF2B5EF4-FFF2-40B4-BE49-F238E27FC236}">
                <a16:creationId xmlns:a16="http://schemas.microsoft.com/office/drawing/2014/main" id="{9C442973-E60C-821A-0141-125EF4539F8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4904" y="393192"/>
            <a:ext cx="953340" cy="307972"/>
          </a:xfrm>
          <a:solidFill>
            <a:schemeClr val="bg1"/>
          </a:solidFill>
        </p:spPr>
        <p:txBody>
          <a:bodyPr lIns="91440" anchor="ctr"/>
          <a:lstStyle>
            <a:lvl1pPr algn="ctr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691514F-F9EE-6B25-55D7-755EA76B87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8100" y="6429247"/>
            <a:ext cx="340782" cy="190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5B52B25-4E7A-E417-C1AB-E66938FAEE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6D8FEFB-CE74-125B-C951-1F97884F5D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9922F0E-956D-398B-1191-BE60B9851B3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2579543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ple Divider Slide">
    <p:bg>
      <p:bgPr>
        <a:gradFill>
          <a:gsLst>
            <a:gs pos="44000">
              <a:schemeClr val="tx1"/>
            </a:gs>
            <a:gs pos="82000">
              <a:schemeClr val="tx1">
                <a:alpha val="92178"/>
              </a:schemeClr>
            </a:gs>
          </a:gsLst>
          <a:lin ang="21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D7ABB0E-A1B5-C818-7D10-BDD285A0C34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931060"/>
            <a:ext cx="9900451" cy="5926940"/>
          </a:xfrm>
          <a:custGeom>
            <a:avLst/>
            <a:gdLst>
              <a:gd name="connsiteX0" fmla="*/ 0 w 9900451"/>
              <a:gd name="connsiteY0" fmla="*/ 0 h 5926940"/>
              <a:gd name="connsiteX1" fmla="*/ 9900451 w 9900451"/>
              <a:gd name="connsiteY1" fmla="*/ 0 h 5926940"/>
              <a:gd name="connsiteX2" fmla="*/ 9900451 w 9900451"/>
              <a:gd name="connsiteY2" fmla="*/ 5926940 h 5926940"/>
              <a:gd name="connsiteX3" fmla="*/ 7714779 w 9900451"/>
              <a:gd name="connsiteY3" fmla="*/ 5926940 h 5926940"/>
              <a:gd name="connsiteX4" fmla="*/ 7714779 w 9900451"/>
              <a:gd name="connsiteY4" fmla="*/ 2185669 h 5926940"/>
              <a:gd name="connsiteX5" fmla="*/ 0 w 9900451"/>
              <a:gd name="connsiteY5" fmla="*/ 2185669 h 5926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0451" h="5926940">
                <a:moveTo>
                  <a:pt x="0" y="0"/>
                </a:moveTo>
                <a:lnTo>
                  <a:pt x="9900451" y="0"/>
                </a:lnTo>
                <a:lnTo>
                  <a:pt x="9900451" y="5926940"/>
                </a:lnTo>
                <a:lnTo>
                  <a:pt x="7714779" y="5926940"/>
                </a:lnTo>
                <a:lnTo>
                  <a:pt x="7714779" y="2185669"/>
                </a:lnTo>
                <a:lnTo>
                  <a:pt x="0" y="2185669"/>
                </a:lnTo>
                <a:close/>
              </a:path>
            </a:pathLst>
          </a:custGeom>
          <a:gradFill flip="none" rotWithShape="1">
            <a:gsLst>
              <a:gs pos="33000">
                <a:schemeClr val="tx1">
                  <a:alpha val="75474"/>
                </a:schemeClr>
              </a:gs>
              <a:gs pos="67000">
                <a:srgbClr val="E6E8E9">
                  <a:alpha val="12000"/>
                </a:srgbClr>
              </a:gs>
            </a:gsLst>
            <a:lin ang="19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91440" bIns="45720" rtlCol="0" anchor="ctr">
            <a:noAutofit/>
          </a:bodyPr>
          <a:lstStyle>
            <a:lvl1pPr>
              <a:defRPr lang="en-US" sz="100" dirty="0">
                <a:noFill/>
                <a:latin typeface="HPE Graphik Light" pitchFamily="50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08176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>
                <a:latin typeface="HPE Graphik Light" pitchFamily="50" charset="0"/>
              </a:defRPr>
            </a:lvl1pPr>
          </a:lstStyle>
          <a:p>
            <a:r>
              <a:rPr lang="en-US"/>
              <a:t>Divider sectio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996962" cy="36512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3544AC8-2D7F-59D9-6708-78BC7A8341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F72B062-2135-EA32-CC97-2D1341B91E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260183F-A02B-3C08-CE51-9C4E3D2A6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8582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Divider Slide">
    <p:bg>
      <p:bgPr>
        <a:gradFill>
          <a:gsLst>
            <a:gs pos="31000">
              <a:schemeClr val="tx1"/>
            </a:gs>
            <a:gs pos="76000">
              <a:schemeClr val="tx1">
                <a:alpha val="85772"/>
              </a:schemeClr>
            </a:gs>
          </a:gsLst>
          <a:lin ang="21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7">
            <a:extLst>
              <a:ext uri="{FF2B5EF4-FFF2-40B4-BE49-F238E27FC236}">
                <a16:creationId xmlns:a16="http://schemas.microsoft.com/office/drawing/2014/main" id="{59AC73AC-71C8-1320-62AC-F4BAC11C92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931060"/>
            <a:ext cx="9900451" cy="5926940"/>
          </a:xfrm>
          <a:custGeom>
            <a:avLst/>
            <a:gdLst>
              <a:gd name="connsiteX0" fmla="*/ 0 w 9900451"/>
              <a:gd name="connsiteY0" fmla="*/ 0 h 5926940"/>
              <a:gd name="connsiteX1" fmla="*/ 9900451 w 9900451"/>
              <a:gd name="connsiteY1" fmla="*/ 0 h 5926940"/>
              <a:gd name="connsiteX2" fmla="*/ 9900451 w 9900451"/>
              <a:gd name="connsiteY2" fmla="*/ 5926940 h 5926940"/>
              <a:gd name="connsiteX3" fmla="*/ 7714779 w 9900451"/>
              <a:gd name="connsiteY3" fmla="*/ 5926940 h 5926940"/>
              <a:gd name="connsiteX4" fmla="*/ 7714779 w 9900451"/>
              <a:gd name="connsiteY4" fmla="*/ 2185669 h 5926940"/>
              <a:gd name="connsiteX5" fmla="*/ 0 w 9900451"/>
              <a:gd name="connsiteY5" fmla="*/ 2185669 h 5926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0451" h="5926940">
                <a:moveTo>
                  <a:pt x="0" y="0"/>
                </a:moveTo>
                <a:lnTo>
                  <a:pt x="9900451" y="0"/>
                </a:lnTo>
                <a:lnTo>
                  <a:pt x="9900451" y="5926940"/>
                </a:lnTo>
                <a:lnTo>
                  <a:pt x="7714779" y="5926940"/>
                </a:lnTo>
                <a:lnTo>
                  <a:pt x="7714779" y="2185669"/>
                </a:lnTo>
                <a:lnTo>
                  <a:pt x="0" y="2185669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alpha val="62986"/>
                </a:schemeClr>
              </a:gs>
              <a:gs pos="29000">
                <a:schemeClr val="tx1">
                  <a:alpha val="49366"/>
                </a:schemeClr>
              </a:gs>
              <a:gs pos="69000">
                <a:srgbClr val="01A982">
                  <a:alpha val="67000"/>
                </a:srgbClr>
              </a:gs>
              <a:gs pos="96000">
                <a:srgbClr val="01A982"/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91440" bIns="45720" rtlCol="0" anchor="ctr">
            <a:noAutofit/>
          </a:bodyPr>
          <a:lstStyle>
            <a:lvl1pPr>
              <a:defRPr lang="en-US" sz="100" dirty="0">
                <a:noFill/>
                <a:latin typeface="HPE Graphik Light" pitchFamily="50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08176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>
                <a:latin typeface="HPE Graphik Light" pitchFamily="50" charset="0"/>
              </a:defRPr>
            </a:lvl1pPr>
          </a:lstStyle>
          <a:p>
            <a:r>
              <a:rPr lang="en-US"/>
              <a:t>Divider sectio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7029619" cy="36512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6F3F653-ECD1-FB07-88DF-6CF3FD8843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652333D-2B07-D7A4-9DC4-7B8F1A5C6E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4FDECBD-2818-FA89-C548-6726A8E3D2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9271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3" y="1526183"/>
            <a:ext cx="11347170" cy="369486"/>
          </a:xfrm>
          <a:prstGeom prst="rect">
            <a:avLst/>
          </a:prstGeom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lIns="0" tIns="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25165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um Blue Divider Slide">
    <p:bg>
      <p:bgPr>
        <a:gradFill>
          <a:gsLst>
            <a:gs pos="19000">
              <a:schemeClr val="tx1"/>
            </a:gs>
            <a:gs pos="76000">
              <a:schemeClr val="tx1">
                <a:alpha val="85772"/>
              </a:schemeClr>
            </a:gs>
          </a:gsLst>
          <a:lin ang="21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7">
            <a:extLst>
              <a:ext uri="{FF2B5EF4-FFF2-40B4-BE49-F238E27FC236}">
                <a16:creationId xmlns:a16="http://schemas.microsoft.com/office/drawing/2014/main" id="{26856C76-6FD9-8080-4A90-C17514AFF0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931060"/>
            <a:ext cx="9900451" cy="5926940"/>
          </a:xfrm>
          <a:custGeom>
            <a:avLst/>
            <a:gdLst>
              <a:gd name="connsiteX0" fmla="*/ 0 w 9900451"/>
              <a:gd name="connsiteY0" fmla="*/ 0 h 5926940"/>
              <a:gd name="connsiteX1" fmla="*/ 9900451 w 9900451"/>
              <a:gd name="connsiteY1" fmla="*/ 0 h 5926940"/>
              <a:gd name="connsiteX2" fmla="*/ 9900451 w 9900451"/>
              <a:gd name="connsiteY2" fmla="*/ 5926940 h 5926940"/>
              <a:gd name="connsiteX3" fmla="*/ 7714779 w 9900451"/>
              <a:gd name="connsiteY3" fmla="*/ 5926940 h 5926940"/>
              <a:gd name="connsiteX4" fmla="*/ 7714779 w 9900451"/>
              <a:gd name="connsiteY4" fmla="*/ 2185669 h 5926940"/>
              <a:gd name="connsiteX5" fmla="*/ 0 w 9900451"/>
              <a:gd name="connsiteY5" fmla="*/ 2185669 h 5926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0451" h="5926940">
                <a:moveTo>
                  <a:pt x="0" y="0"/>
                </a:moveTo>
                <a:lnTo>
                  <a:pt x="9900451" y="0"/>
                </a:lnTo>
                <a:lnTo>
                  <a:pt x="9900451" y="5926940"/>
                </a:lnTo>
                <a:lnTo>
                  <a:pt x="7714779" y="5926940"/>
                </a:lnTo>
                <a:lnTo>
                  <a:pt x="7714779" y="2185669"/>
                </a:lnTo>
                <a:lnTo>
                  <a:pt x="0" y="2185669"/>
                </a:lnTo>
                <a:close/>
              </a:path>
            </a:pathLst>
          </a:custGeom>
          <a:gradFill flip="none" rotWithShape="1">
            <a:gsLst>
              <a:gs pos="25000">
                <a:srgbClr val="01A982"/>
              </a:gs>
              <a:gs pos="2000">
                <a:srgbClr val="05CC93"/>
              </a:gs>
              <a:gs pos="80000">
                <a:schemeClr val="tx1">
                  <a:alpha val="83303"/>
                </a:schemeClr>
              </a:gs>
              <a:gs pos="66000">
                <a:schemeClr val="tx1">
                  <a:lumMod val="90000"/>
                  <a:lumOff val="10000"/>
                  <a:alpha val="30971"/>
                </a:schemeClr>
              </a:gs>
              <a:gs pos="46000">
                <a:srgbClr val="0070F8">
                  <a:alpha val="92953"/>
                </a:srgbClr>
              </a:gs>
            </a:gsLst>
            <a:lin ang="9000000" scaled="0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7042682" cy="36512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42B216F-6129-A258-77AC-F405DA3486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289FA36-9735-F9C8-6942-1E3B9C6A4C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C19EA36-A03B-72EE-729D-C42986A63B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F8225F2-1E56-28CD-8CD6-17C7AD0DE6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08176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>
                <a:latin typeface="HPE Graphik Light" pitchFamily="50" charset="0"/>
              </a:defRPr>
            </a:lvl1pPr>
          </a:lstStyle>
          <a:p>
            <a:r>
              <a:rPr lang="en-US"/>
              <a:t>Divider section layout,</a:t>
            </a:r>
            <a:br>
              <a:rPr lang="en-US"/>
            </a:br>
            <a:r>
              <a:rPr lang="en-US"/>
              <a:t>two lines max</a:t>
            </a:r>
          </a:p>
        </p:txBody>
      </p:sp>
    </p:spTree>
    <p:extLst>
      <p:ext uri="{BB962C8B-B14F-4D97-AF65-F5344CB8AC3E}">
        <p14:creationId xmlns:p14="http://schemas.microsoft.com/office/powerpoint/2010/main" val="219406940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Frame Divi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25A4BD7-A896-2188-E387-26A199DCEB2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tx2">
              <a:lumMod val="90000"/>
              <a:lumOff val="10000"/>
            </a:schemeClr>
          </a:solidFill>
        </p:spPr>
        <p:txBody>
          <a:bodyPr anchor="ctr"/>
          <a:lstStyle>
            <a:lvl1pPr algn="ctr">
              <a:defRPr sz="1200"/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F693C88-D582-4CC3-9D38-8813F7E42F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809750 h 6858000"/>
              <a:gd name="connsiteX3" fmla="*/ 1806575 w 12192000"/>
              <a:gd name="connsiteY3" fmla="*/ 1809750 h 6858000"/>
              <a:gd name="connsiteX4" fmla="*/ 1806575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809750"/>
                </a:lnTo>
                <a:lnTo>
                  <a:pt x="1806575" y="1809750"/>
                </a:lnTo>
                <a:lnTo>
                  <a:pt x="1806575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28000">
                <a:schemeClr val="tx1"/>
              </a:gs>
              <a:gs pos="5000">
                <a:schemeClr val="tx1"/>
              </a:gs>
              <a:gs pos="17000">
                <a:schemeClr val="tx1"/>
              </a:gs>
              <a:gs pos="44000">
                <a:schemeClr val="tx2">
                  <a:alpha val="63000"/>
                </a:schemeClr>
              </a:gs>
              <a:gs pos="61000">
                <a:schemeClr val="tx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sz="1600" dirty="0">
                <a:noFill/>
              </a:defRPr>
            </a:lvl1pPr>
          </a:lstStyle>
          <a:p>
            <a:pPr lvl="0"/>
            <a:r>
              <a:rPr lang="en-US"/>
              <a:t>;</a:t>
            </a:r>
          </a:p>
          <a:p>
            <a:pPr lvl="0"/>
            <a:r>
              <a:rPr lang="en-US"/>
              <a:t>two 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D939A02-61B5-D1D7-71B8-8A7D1755D6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09252" cy="369486"/>
          </a:xfrm>
        </p:spPr>
        <p:txBody>
          <a:bodyPr tIns="0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B1CA16-84C6-14E1-E733-43346BB113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mage-based section divider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289FA9A-0295-0E1A-C9A4-7BD65EA884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4300527-C8A2-0172-79AE-AE615BCA9F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EED7C3A-EF7B-A456-8330-47B7C30036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29602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920874"/>
            <a:ext cx="11411712" cy="412514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genda or </a:t>
            </a:r>
            <a:br>
              <a:rPr lang="en-US"/>
            </a:br>
            <a:r>
              <a:rPr lang="en-US"/>
              <a:t>Table of contents (2 lines)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32CB9CD-5485-E8FD-D6DB-C5D5EC2B00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7E062D6-CD06-9D0F-FB32-3258C226CD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ED647B5-8E42-81E1-C65C-3E37BE5ADC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409115"/>
      </p:ext>
    </p:extLst>
  </p:cSld>
  <p:clrMapOvr>
    <a:masterClrMapping/>
  </p:clrMapOvr>
  <p:hf hdr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920874"/>
            <a:ext cx="9518396" cy="412514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, subhead, and bullets layout;</a:t>
            </a:r>
            <a:br>
              <a:rPr lang="en-US"/>
            </a:br>
            <a:r>
              <a:rPr lang="en-US"/>
              <a:t>two lines max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FFBC1BB-FEEF-3E3D-E996-3CE737E214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CB0ADBE-FF21-3D44-4496-11B85B3ACC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FFD2998-F0A4-E739-8FDE-EC4B9E8A6A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285601"/>
      </p:ext>
    </p:extLst>
  </p:cSld>
  <p:clrMapOvr>
    <a:masterClrMapping/>
  </p:clrMapOvr>
  <p:hf hdr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920874"/>
            <a:ext cx="3631039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, subhead, three columns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186492" y="1920874"/>
            <a:ext cx="3631039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081B761-AD4D-2AE2-2B3F-177CAADCB95C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76344" y="1920874"/>
            <a:ext cx="3631039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9836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920874"/>
            <a:ext cx="5607886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, subhead, two columns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09211" y="1920874"/>
            <a:ext cx="5608321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06304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, subhead, one column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74651" y="1920874"/>
            <a:ext cx="11442881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88318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8"/>
            <a:ext cx="3631039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Three colum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186492" y="1541418"/>
            <a:ext cx="3631039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081B761-AD4D-2AE2-2B3F-177CAADCB95C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76344" y="1541418"/>
            <a:ext cx="3631039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126164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8"/>
            <a:ext cx="5607886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Two colum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09211" y="1541418"/>
            <a:ext cx="5608321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817708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 Lines,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One colum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74651" y="1541418"/>
            <a:ext cx="11442881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212347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BAE68A-27A7-6C3D-4142-7F3922D49B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444F98-C525-C008-1B46-B4DCF8808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243D16-78B0-BF7E-7EE9-B51138BA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4827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Three pictures with text field below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EF045D-7BFC-7EA8-66D2-1B502EA0593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74650" y="1541463"/>
            <a:ext cx="3630613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F3B0A2B-FF0A-416A-4374-3AB51B71B8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4650" y="5242561"/>
            <a:ext cx="3630613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FB34293B-6D02-088D-038C-1AC8158D8C6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86238" y="1541463"/>
            <a:ext cx="3630613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CDBEBF8-A8F7-61A2-3755-A22CC8D6A0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86238" y="5242561"/>
            <a:ext cx="3630613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34ADF1E8-A1A6-59DC-8968-2C3629DA8AD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280444" y="1541463"/>
            <a:ext cx="3630613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79958740-74AE-101C-E0DB-2A2751DC82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80444" y="5242561"/>
            <a:ext cx="3630613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</p:spTree>
    <p:extLst>
      <p:ext uri="{BB962C8B-B14F-4D97-AF65-F5344CB8AC3E}">
        <p14:creationId xmlns:p14="http://schemas.microsoft.com/office/powerpoint/2010/main" val="35707771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Two pictures with text field below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631A607-E39C-536B-2E2B-85418CE43E6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74650" y="1541463"/>
            <a:ext cx="5607886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95B11304-C396-1AEE-73F2-2778EFD8E30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4650" y="5242561"/>
            <a:ext cx="5607886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2990CF69-FB2F-44A9-D600-541E0C54A5C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09393" y="1541463"/>
            <a:ext cx="5607886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75A67950-C2B8-E4AC-BD4C-F366BFE643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9393" y="5242561"/>
            <a:ext cx="5607886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</p:spTree>
    <p:extLst>
      <p:ext uri="{BB962C8B-B14F-4D97-AF65-F5344CB8AC3E}">
        <p14:creationId xmlns:p14="http://schemas.microsoft.com/office/powerpoint/2010/main" val="883004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dge-To-Edge Pictur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8FCE505C-029E-308C-D408-35D40C6B0E6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  <a:lumOff val="10000"/>
            </a:schemeClr>
          </a:solidFill>
        </p:spPr>
        <p:txBody>
          <a:bodyPr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24406893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65D114A-B92C-774A-2832-F1D69FB6BB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and subtitle, blank layou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4A44F5C-6831-516B-3BF0-A233A179F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FF271EA-72B4-A58F-CF86-BACE43C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16AF2C-5E06-496C-D0F9-CD2D21DD7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19EEF8C-7505-DBFC-1D53-7900BAF3F4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</p:spTree>
    <p:extLst>
      <p:ext uri="{BB962C8B-B14F-4D97-AF65-F5344CB8AC3E}">
        <p14:creationId xmlns:p14="http://schemas.microsoft.com/office/powerpoint/2010/main" val="4234556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2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65D114A-B92C-774A-2832-F1D69FB6BB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nly, blank layou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4A44F5C-6831-516B-3BF0-A233A179F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FF271EA-72B4-A58F-CF86-BACE43C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16AF2C-5E06-496C-D0F9-CD2D21DD7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851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34A44F5C-6831-516B-3BF0-A233A179F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FF271EA-72B4-A58F-CF86-BACE43C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16AF2C-5E06-496C-D0F9-CD2D21DD7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6405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2258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67DBD27B-93CF-6EF3-CBB8-D8F8F65225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wo content layout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4622F42-A279-E640-6E4E-8F8CBDE40F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09252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8AE2703-9EE3-C742-DBB1-DC8804D3A07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4904" y="1920875"/>
            <a:ext cx="4709809" cy="413067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r>
              <a:rPr lang="en-US"/>
              <a:t>Body copy Content level one: Two column slides have two equal width columns, each of which can be used for text, tables, charts, graphics, or images. </a:t>
            </a:r>
          </a:p>
          <a:p>
            <a:pPr lvl="1"/>
            <a:r>
              <a:rPr lang="en-US"/>
              <a:t>Bullet level two</a:t>
            </a:r>
          </a:p>
          <a:p>
            <a:pPr lvl="2"/>
            <a:r>
              <a:rPr lang="en-US"/>
              <a:t>Bullet level three</a:t>
            </a:r>
          </a:p>
          <a:p>
            <a:pPr lvl="3"/>
            <a:r>
              <a:rPr lang="en-US"/>
              <a:t>Bullet level four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0EF31A4-DF72-16BA-951B-C09FD1906A8C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36004" y="1920875"/>
            <a:ext cx="4709796" cy="413067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r>
              <a:rPr lang="en-US"/>
              <a:t>Body copy Content level one: Two column slides have two equal width columns, each of which can be used for text, tables, charts, graphics, or images. </a:t>
            </a:r>
          </a:p>
          <a:p>
            <a:pPr lvl="1"/>
            <a:r>
              <a:rPr lang="en-US"/>
              <a:t>Bullet level two</a:t>
            </a:r>
          </a:p>
          <a:p>
            <a:pPr lvl="2"/>
            <a:r>
              <a:rPr lang="en-US"/>
              <a:t>Bullet level three</a:t>
            </a:r>
          </a:p>
          <a:p>
            <a:pPr lvl="3"/>
            <a:r>
              <a:rPr lang="en-US"/>
              <a:t>Bullet level four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BF112F0-85FD-9CE5-8469-36CEE8F52D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5CDEFF-4333-3580-89A2-17D0B21F73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A862A34-9424-6C29-6EEC-E18FF108B1C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689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 and Caption,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210050" y="0"/>
            <a:ext cx="7981950" cy="6858000"/>
          </a:xfrm>
          <a:solidFill>
            <a:schemeClr val="tx1">
              <a:lumMod val="90000"/>
              <a:lumOff val="10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51BF595-61DC-BF12-7456-F1E85E5DD0A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4904" y="1920240"/>
            <a:ext cx="2789613" cy="4130200"/>
          </a:xfrm>
        </p:spPr>
        <p:txBody>
          <a:bodyPr/>
          <a:lstStyle>
            <a:lvl1pPr>
              <a:defRPr sz="1800"/>
            </a:lvl1pPr>
            <a:lvl2pPr marL="0" indent="-320040">
              <a:buFont typeface="Arial" panose="020B0604020202020204" pitchFamily="34" charset="0"/>
              <a:buChar char="•"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2793185" cy="83782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ontent slide — dark mode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3B65148A-F9D2-126F-B388-E0EF3EAE4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gradFill flip="none" rotWithShape="1">
            <a:gsLst>
              <a:gs pos="14000">
                <a:srgbClr val="05CC93"/>
              </a:gs>
              <a:gs pos="41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ysClr val="windowText" lastClr="000000"/>
                </a:solidFill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  <a:p>
            <a:pPr lvl="1" indent="0">
              <a:lnSpc>
                <a:spcPct val="90000"/>
              </a:lnSpc>
              <a:spcBef>
                <a:spcPts val="1200"/>
              </a:spcBef>
              <a:buFontTx/>
              <a:buNone/>
            </a:pPr>
            <a:r>
              <a:rPr lang="en-US"/>
              <a:t>Lorem ipsum dolor </a:t>
            </a:r>
            <a:br>
              <a:rPr lang="en-US"/>
            </a:br>
            <a:r>
              <a:rPr lang="en-US"/>
              <a:t>sit </a:t>
            </a:r>
            <a:r>
              <a:rPr lang="en-US" err="1"/>
              <a:t>amet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8CC9CBA-B2F7-A530-B8F7-C96745CEE8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F5162B8-4D59-652C-4CBC-608B21216C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8AE1AB4-3206-3EDF-C809-F5345BD7C6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94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urpo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089B2A1-DF32-2EE7-EB26-972DC589CF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222750" y="1920875"/>
            <a:ext cx="7586664" cy="4130674"/>
          </a:xfrm>
        </p:spPr>
        <p:txBody>
          <a:bodyPr/>
          <a:lstStyle>
            <a:lvl1pPr>
              <a:defRPr sz="1800"/>
            </a:lvl1pPr>
            <a:lvl2pPr marL="0" indent="-320040">
              <a:buFont typeface="Arial" panose="020B0604020202020204" pitchFamily="34" charset="0"/>
              <a:buChar char="•"/>
              <a:defRPr sz="1800"/>
            </a:lvl2pPr>
            <a:lvl3pPr>
              <a:defRPr sz="1800"/>
            </a:lvl3pPr>
            <a:lvl4pPr>
              <a:defRPr sz="1800"/>
            </a:lvl4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B08B55F1-5C91-C971-B57A-7FBF9B68D0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5D114A-B92C-774A-2832-F1D69FB6BB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ultipurpose layou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D4FA7D4-85E6-6F3F-E547-F8B617F71E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4904" y="1920874"/>
            <a:ext cx="2789613" cy="4130675"/>
          </a:xfrm>
        </p:spPr>
        <p:txBody>
          <a:bodyPr/>
          <a:lstStyle>
            <a:lvl1pPr>
              <a:defRPr sz="1800"/>
            </a:lvl1pPr>
            <a:lvl2pPr marL="0" indent="-320040">
              <a:buFont typeface="Arial" panose="020B0604020202020204" pitchFamily="34" charset="0"/>
              <a:buChar char="•"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4A44F5C-6831-516B-3BF0-A233A179F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FF271EA-72B4-A58F-CF86-BACE43C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16AF2C-5E06-496C-D0F9-CD2D21DD7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144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7"/>
            <a:ext cx="5523992" cy="4729841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41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 Char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Organization chart — dark mode;</a:t>
            </a:r>
            <a:br>
              <a:rPr lang="en-US"/>
            </a:br>
            <a:r>
              <a:rPr lang="en-US"/>
              <a:t>two lines max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E3577A-6CF0-5F9D-A157-798EA2840C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650" y="1912022"/>
            <a:ext cx="1847850" cy="557784"/>
          </a:xfrm>
          <a:ln w="19050">
            <a:solidFill>
              <a:srgbClr val="01A98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CA2ADB7-6624-CE70-6905-FDA8DF924D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33650" y="1912022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C39D5C0-2311-CA36-1A29-07D197D746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33650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347C8A82-911A-6ED6-74CE-A8F44251580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4650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E237EEC-D099-9C9F-3E6C-8A0A471E29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33650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938B60F-47C9-17B5-EEC2-36626FB150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650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6432C04-C4F7-89CB-A0BA-429F72BF534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33650" y="4133297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A9CCDC7-4311-87E1-16F0-FC799E5C27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4650" y="4133297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8A8BE9A8-FEBD-A8C2-DBD5-813DFF88EFA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533650" y="477304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DD9B15F5-A7AC-826A-4857-C8D3B6A86F4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74650" y="477304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A6A814E-0AF2-EA2F-A0FE-A40765257A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533650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CCEC6A9-F359-6FB3-ED32-7FEA41FE894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4650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A49A317-396F-46D5-C526-6D75D108A2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855393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D9F1813-8EE2-ED4F-852C-A89E7C67D7F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7269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C081D5EB-4765-7E96-2DB7-89CB5EFE070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08341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F7ED29CB-985F-8F41-D08B-329ECEEE0F3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97269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824AD230-85CD-80DB-479D-21531F706E1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97269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5FA9EBB4-F5A9-8BA6-217D-E22B54E7084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97269" y="4133297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A9D57ABC-54D5-A6D0-5327-7CC0C305139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55393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779855A3-8528-23F0-0673-5EC03B80952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55393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6E573420-625A-B90A-8301-4CEC2ECB518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08341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3C34C287-551E-5A97-93A9-5FF1901EE37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08341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3279F1B9-4372-FD81-3812-A484BAE1DBF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55393" y="4133297"/>
            <a:ext cx="1847850" cy="557784"/>
          </a:xfrm>
          <a:ln w="19050">
            <a:solidFill>
              <a:schemeClr val="accent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63D079B2-6EAD-F8DD-C927-9C4C0079634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008341" y="4133297"/>
            <a:ext cx="1847850" cy="557784"/>
          </a:xfrm>
          <a:ln w="19050">
            <a:solidFill>
              <a:schemeClr val="accent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40ACC774-A6CD-6EA5-B798-8E7F3FB10E9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855393" y="4773041"/>
            <a:ext cx="1847850" cy="557784"/>
          </a:xfrm>
          <a:ln w="19050">
            <a:solidFill>
              <a:schemeClr val="accent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114134C8-2EC9-F745-F507-B69D412D5B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08341" y="4773041"/>
            <a:ext cx="1847850" cy="557784"/>
          </a:xfrm>
          <a:ln w="19050">
            <a:solidFill>
              <a:schemeClr val="accent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0FB1AD03-CF7E-482B-2804-5DEF97C88A4D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0924117" y="1929883"/>
            <a:ext cx="100584" cy="101642"/>
          </a:xfrm>
          <a:prstGeom prst="rect">
            <a:avLst/>
          </a:prstGeom>
          <a:ln w="19050">
            <a:solidFill>
              <a:schemeClr val="accent1"/>
            </a:solidFill>
            <a:miter lim="800000"/>
          </a:ln>
        </p:spPr>
        <p:txBody>
          <a:bodyPr lIns="182880" tIns="91440" rIns="182880" bIns="91440"/>
          <a:lstStyle>
            <a:lvl1pPr>
              <a:defRPr sz="100">
                <a:noFill/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93F0AC52-420B-6F2F-942F-AAD680B14AC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926234" y="2095623"/>
            <a:ext cx="100584" cy="101642"/>
          </a:xfrm>
          <a:prstGeom prst="rect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  <a:miter lim="800000"/>
          </a:ln>
        </p:spPr>
        <p:txBody>
          <a:bodyPr lIns="182880" tIns="91440" rIns="182880" bIns="91440"/>
          <a:lstStyle>
            <a:lvl1pPr>
              <a:defRPr sz="100">
                <a:noFill/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7B89C8CE-A764-610B-A2EB-78249F882FC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922000" y="2268172"/>
            <a:ext cx="100584" cy="101642"/>
          </a:xfrm>
          <a:prstGeom prst="rect">
            <a:avLst/>
          </a:prstGeom>
          <a:ln w="19050">
            <a:solidFill>
              <a:schemeClr val="accent2"/>
            </a:solidFill>
            <a:miter lim="800000"/>
          </a:ln>
        </p:spPr>
        <p:txBody>
          <a:bodyPr lIns="182880" tIns="91440" rIns="182880" bIns="91440"/>
          <a:lstStyle>
            <a:lvl1pPr>
              <a:defRPr sz="100">
                <a:noFill/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D13D72BF-1281-43D9-E991-D06F2D0A66D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922000" y="2442443"/>
            <a:ext cx="100584" cy="101642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  <a:miter lim="800000"/>
          </a:ln>
        </p:spPr>
        <p:txBody>
          <a:bodyPr lIns="182880" tIns="91440" rIns="182880" bIns="91440"/>
          <a:lstStyle>
            <a:lvl1pPr>
              <a:defRPr sz="100">
                <a:noFill/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4E40D3BA-3F5A-80F7-E355-C7B01A7E45F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098785" y="1885564"/>
            <a:ext cx="710097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11F6C029-CC17-4BCB-C56C-D0176D381A8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1098785" y="2061247"/>
            <a:ext cx="710097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A6EC919C-28A5-60F5-453D-030617D6F7E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1098785" y="2234814"/>
            <a:ext cx="710097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C6275BD4-3BD2-47C3-4FB8-7EA1412A5B0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1098785" y="2406264"/>
            <a:ext cx="710097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157FFD5-B71F-DB30-4FE1-F2F940E06D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C10CE85-FD44-9262-1CE8-00261AE764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6C030B3-9261-6DC1-47AE-6C55F605F2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132692"/>
      </p:ext>
    </p:extLst>
  </p:cSld>
  <p:clrMapOvr>
    <a:masterClrMapping/>
  </p:clrMapOvr>
  <p:hf hdr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us Char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09401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21571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tatus char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EFC121-C39E-32A8-9C37-4E92845A0D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650" y="1920774"/>
            <a:ext cx="3841750" cy="414867"/>
          </a:xfrm>
          <a:solidFill>
            <a:schemeClr val="accent1"/>
          </a:solidFill>
        </p:spPr>
        <p:txBody>
          <a:bodyPr lIns="182880" tIns="91440" rIns="182880" bIns="91440" anchor="ctr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Project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99E12516-E5A9-ADA6-1318-26B6C035B21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42317" y="1920774"/>
            <a:ext cx="5824007" cy="414867"/>
          </a:xfrm>
          <a:solidFill>
            <a:schemeClr val="accent1"/>
          </a:solidFill>
        </p:spPr>
        <p:txBody>
          <a:bodyPr lIns="182880" tIns="91440" rIns="182880" bIns="91440" anchor="ctr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Progress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7156978D-6B70-E273-8051-86BDCAE401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896475" y="1920774"/>
            <a:ext cx="1914525" cy="414867"/>
          </a:xfrm>
          <a:solidFill>
            <a:schemeClr val="accent1"/>
          </a:solidFill>
        </p:spPr>
        <p:txBody>
          <a:bodyPr lIns="182880" tIns="91440" rIns="182880" bIns="91440" anchor="ctr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Statu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5E741012-90C5-C09A-EA36-74EEC4CB46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4514" y="2424649"/>
            <a:ext cx="261683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48" name="Text Placeholder 46">
            <a:extLst>
              <a:ext uri="{FF2B5EF4-FFF2-40B4-BE49-F238E27FC236}">
                <a16:creationId xmlns:a16="http://schemas.microsoft.com/office/drawing/2014/main" id="{E701087E-7F47-2AA2-BB86-6BF3D4CB5B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4514" y="3262850"/>
            <a:ext cx="261683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3CA39632-9533-B8D0-90C2-0C0508F16AA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4514" y="4109516"/>
            <a:ext cx="261683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50" name="Text Placeholder 46">
            <a:extLst>
              <a:ext uri="{FF2B5EF4-FFF2-40B4-BE49-F238E27FC236}">
                <a16:creationId xmlns:a16="http://schemas.microsoft.com/office/drawing/2014/main" id="{B137E6BB-CE0A-95CF-2F1D-B1C9084854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4514" y="4956184"/>
            <a:ext cx="261683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52" name="Text Placeholder 46">
            <a:extLst>
              <a:ext uri="{FF2B5EF4-FFF2-40B4-BE49-F238E27FC236}">
                <a16:creationId xmlns:a16="http://schemas.microsoft.com/office/drawing/2014/main" id="{E22E70C2-95FC-BA06-C992-D692512AAB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40648" y="3262850"/>
            <a:ext cx="4591685" cy="639126"/>
          </a:xfrm>
        </p:spPr>
        <p:txBody>
          <a:bodyPr tIns="0" rIns="0" bIns="0"/>
          <a:lstStyle>
            <a:lvl1pPr>
              <a:defRPr lang="en-US" sz="1400" kern="1200" dirty="0">
                <a:solidFill>
                  <a:schemeClr val="bg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etails here</a:t>
            </a:r>
          </a:p>
        </p:txBody>
      </p:sp>
      <p:sp>
        <p:nvSpPr>
          <p:cNvPr id="53" name="Text Placeholder 46">
            <a:extLst>
              <a:ext uri="{FF2B5EF4-FFF2-40B4-BE49-F238E27FC236}">
                <a16:creationId xmlns:a16="http://schemas.microsoft.com/office/drawing/2014/main" id="{98ACE788-89F7-F8E5-03AE-8D9644BDEBA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40648" y="4109516"/>
            <a:ext cx="459168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etails here</a:t>
            </a:r>
          </a:p>
        </p:txBody>
      </p:sp>
      <p:sp>
        <p:nvSpPr>
          <p:cNvPr id="54" name="Text Placeholder 46">
            <a:extLst>
              <a:ext uri="{FF2B5EF4-FFF2-40B4-BE49-F238E27FC236}">
                <a16:creationId xmlns:a16="http://schemas.microsoft.com/office/drawing/2014/main" id="{03559B90-5E5C-3F78-9776-7F6007C501D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40648" y="4956184"/>
            <a:ext cx="459168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etails here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A36DCE86-CFA3-CEEF-0164-76A8820BE11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095536" y="2624053"/>
            <a:ext cx="338328" cy="338328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55">
            <a:extLst>
              <a:ext uri="{FF2B5EF4-FFF2-40B4-BE49-F238E27FC236}">
                <a16:creationId xmlns:a16="http://schemas.microsoft.com/office/drawing/2014/main" id="{8CEBF3D6-4499-554E-3F85-49D8BBCB1AA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095536" y="3462253"/>
            <a:ext cx="338328" cy="338328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55">
            <a:extLst>
              <a:ext uri="{FF2B5EF4-FFF2-40B4-BE49-F238E27FC236}">
                <a16:creationId xmlns:a16="http://schemas.microsoft.com/office/drawing/2014/main" id="{5D25FD90-1AA6-FBAD-4D47-DB647CC51AE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095536" y="4304687"/>
            <a:ext cx="338328" cy="338328"/>
          </a:xfrm>
          <a:prstGeom prst="ellipse">
            <a:avLst/>
          </a:prstGeom>
          <a:solidFill>
            <a:srgbClr val="DEB146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55">
            <a:extLst>
              <a:ext uri="{FF2B5EF4-FFF2-40B4-BE49-F238E27FC236}">
                <a16:creationId xmlns:a16="http://schemas.microsoft.com/office/drawing/2014/main" id="{C6D715A7-C962-6E51-B4A2-67A7CE85C9A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095536" y="5130187"/>
            <a:ext cx="338328" cy="338328"/>
          </a:xfrm>
          <a:prstGeom prst="ellipse">
            <a:avLst/>
          </a:prstGeom>
          <a:solidFill>
            <a:srgbClr val="C64F3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55">
            <a:extLst>
              <a:ext uri="{FF2B5EF4-FFF2-40B4-BE49-F238E27FC236}">
                <a16:creationId xmlns:a16="http://schemas.microsoft.com/office/drawing/2014/main" id="{685F12DA-6C9D-4A9E-AF03-74EC008BF71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922000" y="5852160"/>
            <a:ext cx="88900" cy="88900"/>
          </a:xfrm>
          <a:prstGeom prst="ellipse">
            <a:avLst/>
          </a:prstGeom>
          <a:solidFill>
            <a:srgbClr val="C64F3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55">
            <a:extLst>
              <a:ext uri="{FF2B5EF4-FFF2-40B4-BE49-F238E27FC236}">
                <a16:creationId xmlns:a16="http://schemas.microsoft.com/office/drawing/2014/main" id="{C769972C-75C7-1D89-A16E-49DBF65AB7A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970608" y="5852160"/>
            <a:ext cx="88900" cy="88900"/>
          </a:xfrm>
          <a:prstGeom prst="ellipse">
            <a:avLst/>
          </a:prstGeom>
          <a:solidFill>
            <a:srgbClr val="DEB146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55">
            <a:extLst>
              <a:ext uri="{FF2B5EF4-FFF2-40B4-BE49-F238E27FC236}">
                <a16:creationId xmlns:a16="http://schemas.microsoft.com/office/drawing/2014/main" id="{CDDC302A-E9B8-5649-A79B-1D51DF0A62D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15984" y="5852160"/>
            <a:ext cx="88900" cy="889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10C6F9AA-F461-8CFE-D41F-64EAFE48D2E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30286" y="5824728"/>
            <a:ext cx="754019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BBE9BDEC-53DB-7C23-2829-D45FFF5771A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095537" y="5824728"/>
            <a:ext cx="754019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D654FE86-88F9-4577-9DAE-8166F19CA32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1046398" y="5824728"/>
            <a:ext cx="754019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AF45EBCE-E860-A633-1DAD-C30B38FE3A85}"/>
              </a:ext>
            </a:extLst>
          </p:cNvPr>
          <p:cNvGrpSpPr>
            <a:grpSpLocks/>
          </p:cNvGrpSpPr>
          <p:nvPr/>
        </p:nvGrpSpPr>
        <p:grpSpPr>
          <a:xfrm>
            <a:off x="374650" y="3175000"/>
            <a:ext cx="11411712" cy="2514600"/>
            <a:chOff x="374650" y="3175000"/>
            <a:chExt cx="11411712" cy="2514600"/>
          </a:xfrm>
        </p:grpSpPr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D61194E9-6CDA-9C7D-4695-9496926122DE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317500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AAFEFDDA-4F3B-F4F5-77B5-28542A65B9DF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400812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1D30E2C9-6BA5-06D1-BCA3-EA51E0D5D2AC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485140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806C4FD0-F735-CF38-B794-D97A64183531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568960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Graphic 3">
            <a:extLst>
              <a:ext uri="{FF2B5EF4-FFF2-40B4-BE49-F238E27FC236}">
                <a16:creationId xmlns:a16="http://schemas.microsoft.com/office/drawing/2014/main" id="{224A201F-2742-25DE-BB6A-8F2C041990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5AFB998-8502-519B-4C3E-52DBD4435C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C5238DB-1C09-0712-3BEC-7EEE6EF8F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46">
            <a:extLst>
              <a:ext uri="{FF2B5EF4-FFF2-40B4-BE49-F238E27FC236}">
                <a16:creationId xmlns:a16="http://schemas.microsoft.com/office/drawing/2014/main" id="{A4D56755-79C2-7B65-60E2-4682C1C3EAD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40648" y="2423264"/>
            <a:ext cx="4591685" cy="639126"/>
          </a:xfrm>
        </p:spPr>
        <p:txBody>
          <a:bodyPr tIns="0" rIns="0" bIns="0"/>
          <a:lstStyle>
            <a:lvl1pPr>
              <a:defRPr lang="en-US" sz="1400" kern="1200" dirty="0">
                <a:solidFill>
                  <a:schemeClr val="bg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etails here</a:t>
            </a:r>
          </a:p>
        </p:txBody>
      </p:sp>
    </p:spTree>
    <p:extLst>
      <p:ext uri="{BB962C8B-B14F-4D97-AF65-F5344CB8AC3E}">
        <p14:creationId xmlns:p14="http://schemas.microsoft.com/office/powerpoint/2010/main" val="643533414"/>
      </p:ext>
    </p:extLst>
  </p:cSld>
  <p:clrMapOvr>
    <a:masterClrMapping/>
  </p:clrMapOvr>
  <p:hf hdr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00609AB6-19A1-E281-B8CB-73DB47948144}"/>
              </a:ext>
            </a:extLst>
          </p:cNvPr>
          <p:cNvGrpSpPr>
            <a:grpSpLocks/>
          </p:cNvGrpSpPr>
          <p:nvPr/>
        </p:nvGrpSpPr>
        <p:grpSpPr>
          <a:xfrm>
            <a:off x="374650" y="3165374"/>
            <a:ext cx="11411712" cy="2455331"/>
            <a:chOff x="374650" y="3175000"/>
            <a:chExt cx="11411712" cy="2455331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4110403-2EFD-96AD-C355-02D56FEA8812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317500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A74B400-4435-FFFC-022D-8E1271ACD262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4792131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FD7483B-FC20-AF09-B78B-350DE5A6E6B1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5630331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DEBF9805-505D-6008-21E7-A9DB03203A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649" y="1927416"/>
            <a:ext cx="11434763" cy="414867"/>
          </a:xfrm>
          <a:solidFill>
            <a:schemeClr val="accent1"/>
          </a:solidFill>
        </p:spPr>
        <p:txBody>
          <a:bodyPr lIns="1920240" tIns="91440" rIns="182880" bIns="91440" anchor="ctr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urrent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meline roadmap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287204F-6B78-81D7-0171-E5FA41FFFF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98620" y="1978746"/>
            <a:ext cx="659130" cy="327263"/>
          </a:xfrm>
          <a:solidFill>
            <a:schemeClr val="accent1"/>
          </a:solidFill>
        </p:spPr>
        <p:txBody>
          <a:bodyPr anchor="ctr" anchorCtr="0"/>
          <a:lstStyle>
            <a:lvl1pPr>
              <a:defRPr lang="en-US" sz="1600" kern="1200" dirty="0">
                <a:solidFill>
                  <a:schemeClr val="tx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Q1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AB30B52-1C64-60FB-99BB-84F81242A8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0130" y="1978746"/>
            <a:ext cx="659130" cy="327263"/>
          </a:xfrm>
          <a:solidFill>
            <a:schemeClr val="accent1"/>
          </a:solidFill>
        </p:spPr>
        <p:txBody>
          <a:bodyPr anchor="ctr" anchorCtr="0"/>
          <a:lstStyle>
            <a:lvl1pPr>
              <a:defRPr lang="en-US" sz="1600" kern="1200" dirty="0">
                <a:solidFill>
                  <a:schemeClr val="tx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Q2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05C734A6-0DA6-7E06-8EE8-BC6D953731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0369" y="1978746"/>
            <a:ext cx="659129" cy="327263"/>
          </a:xfrm>
          <a:solidFill>
            <a:schemeClr val="accent1"/>
          </a:solidFill>
        </p:spPr>
        <p:txBody>
          <a:bodyPr anchor="ctr" anchorCtr="0"/>
          <a:lstStyle>
            <a:lvl1pPr>
              <a:defRPr lang="en-US" sz="1600" kern="1200" dirty="0">
                <a:solidFill>
                  <a:schemeClr val="tx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Q3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8155F34-B523-0B7D-E5BD-9C942BDDA3E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55530" y="1978746"/>
            <a:ext cx="722802" cy="327263"/>
          </a:xfrm>
          <a:solidFill>
            <a:schemeClr val="accent1"/>
          </a:solidFill>
        </p:spPr>
        <p:txBody>
          <a:bodyPr anchor="ctr" anchorCtr="0"/>
          <a:lstStyle>
            <a:lvl1pPr>
              <a:defRPr lang="en-US" sz="1600" kern="1200" dirty="0">
                <a:solidFill>
                  <a:schemeClr val="tx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Q4</a:t>
            </a:r>
          </a:p>
        </p:txBody>
      </p:sp>
      <p:sp>
        <p:nvSpPr>
          <p:cNvPr id="20" name="Text Placeholder 46">
            <a:extLst>
              <a:ext uri="{FF2B5EF4-FFF2-40B4-BE49-F238E27FC236}">
                <a16:creationId xmlns:a16="http://schemas.microsoft.com/office/drawing/2014/main" id="{6C1A191A-96F8-4464-C8B0-34112C8E66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4514" y="2421374"/>
            <a:ext cx="1027219" cy="639126"/>
          </a:xfrm>
        </p:spPr>
        <p:txBody>
          <a:bodyPr tIns="0" rIns="0" bIns="0"/>
          <a:lstStyle>
            <a:lvl1pPr>
              <a:defRPr sz="1400"/>
            </a:lvl1pPr>
          </a:lstStyle>
          <a:p>
            <a:pPr lvl="0"/>
            <a:r>
              <a:rPr lang="en-US"/>
              <a:t>Product or phase</a:t>
            </a:r>
          </a:p>
        </p:txBody>
      </p:sp>
      <p:sp>
        <p:nvSpPr>
          <p:cNvPr id="21" name="Text Placeholder 46">
            <a:extLst>
              <a:ext uri="{FF2B5EF4-FFF2-40B4-BE49-F238E27FC236}">
                <a16:creationId xmlns:a16="http://schemas.microsoft.com/office/drawing/2014/main" id="{CF1A7F74-21FB-5775-A22D-39CD7E2FF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4514" y="3265924"/>
            <a:ext cx="1027219" cy="639126"/>
          </a:xfrm>
        </p:spPr>
        <p:txBody>
          <a:bodyPr tIns="0" rIns="0" bIns="0"/>
          <a:lstStyle>
            <a:lvl1pPr>
              <a:defRPr sz="1400"/>
            </a:lvl1pPr>
          </a:lstStyle>
          <a:p>
            <a:pPr lvl="0"/>
            <a:r>
              <a:rPr lang="en-US"/>
              <a:t>Product or phase</a:t>
            </a:r>
          </a:p>
        </p:txBody>
      </p:sp>
      <p:sp>
        <p:nvSpPr>
          <p:cNvPr id="22" name="Text Placeholder 46">
            <a:extLst>
              <a:ext uri="{FF2B5EF4-FFF2-40B4-BE49-F238E27FC236}">
                <a16:creationId xmlns:a16="http://schemas.microsoft.com/office/drawing/2014/main" id="{6CC56048-B9AA-8EBF-F60E-1E36E823BC6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4514" y="4889407"/>
            <a:ext cx="1027219" cy="639126"/>
          </a:xfrm>
        </p:spPr>
        <p:txBody>
          <a:bodyPr tIns="0" rIns="0" bIns="0"/>
          <a:lstStyle>
            <a:lvl1pPr>
              <a:defRPr sz="1400"/>
            </a:lvl1pPr>
          </a:lstStyle>
          <a:p>
            <a:pPr lvl="0"/>
            <a:r>
              <a:rPr lang="en-US"/>
              <a:t>Product or phas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44A84FE-1FA8-2DAE-2470-8188DC40516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92350" y="2380091"/>
            <a:ext cx="9517063" cy="155448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F610D2AB-BDC4-591D-9996-D15B78473F9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03133" y="2574825"/>
            <a:ext cx="7906280" cy="155448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87938950-8AA3-6792-6858-94A627D385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70033" y="2771252"/>
            <a:ext cx="6039380" cy="155448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94B20A9E-CFF0-5A51-8F26-9A1ABB0EDB4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56499" y="2964291"/>
            <a:ext cx="4252913" cy="155448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45111553-6E8A-B578-FD16-DAF921354A5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92350" y="3218292"/>
            <a:ext cx="9517063" cy="158749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92BBB32A-FF33-8B3F-057F-770FFBF642E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2350" y="3417258"/>
            <a:ext cx="9517063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C759F59C-7E9C-C0E5-FC49-B69AF5E806A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92350" y="3802492"/>
            <a:ext cx="9517063" cy="158749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EF4C3D21-03AB-6C8E-EC99-3CB2EB7A52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292350" y="3998283"/>
            <a:ext cx="9517063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E1B1F49B-5B3D-0450-CB45-7DDBA1D260C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857750" y="3610933"/>
            <a:ext cx="6951663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3" name="Text Placeholder 23">
            <a:extLst>
              <a:ext uri="{FF2B5EF4-FFF2-40B4-BE49-F238E27FC236}">
                <a16:creationId xmlns:a16="http://schemas.microsoft.com/office/drawing/2014/main" id="{F6D80FE5-F739-D3B6-129B-E58042BC60C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134225" y="4189418"/>
            <a:ext cx="4675188" cy="155448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4" name="Text Placeholder 23">
            <a:extLst>
              <a:ext uri="{FF2B5EF4-FFF2-40B4-BE49-F238E27FC236}">
                <a16:creationId xmlns:a16="http://schemas.microsoft.com/office/drawing/2014/main" id="{0E8268DA-D3C1-F759-F459-558086F34E4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334375" y="4382458"/>
            <a:ext cx="3475038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010F9562-FAAB-F9F5-B4B0-D6CCCC221D4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20251" y="4580578"/>
            <a:ext cx="2189162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6" name="Text Placeholder 23">
            <a:extLst>
              <a:ext uri="{FF2B5EF4-FFF2-40B4-BE49-F238E27FC236}">
                <a16:creationId xmlns:a16="http://schemas.microsoft.com/office/drawing/2014/main" id="{A229142C-16BE-83EC-9D26-29D8AADF8B5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92350" y="4833308"/>
            <a:ext cx="9517063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3C029D0-8C37-CA27-23B2-42567F2D0EC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692900" y="5021268"/>
            <a:ext cx="5116513" cy="155448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8" name="Text Placeholder 23">
            <a:extLst>
              <a:ext uri="{FF2B5EF4-FFF2-40B4-BE49-F238E27FC236}">
                <a16:creationId xmlns:a16="http://schemas.microsoft.com/office/drawing/2014/main" id="{1BBD7F9E-4CA1-FB4B-AA91-73ECB13F023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56126" y="5217483"/>
            <a:ext cx="7253288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9" name="Text Placeholder 23">
            <a:extLst>
              <a:ext uri="{FF2B5EF4-FFF2-40B4-BE49-F238E27FC236}">
                <a16:creationId xmlns:a16="http://schemas.microsoft.com/office/drawing/2014/main" id="{47F7F192-22B0-3C34-201F-A2B3F31F790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166225" y="5412428"/>
            <a:ext cx="2643188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7596248-524F-D22A-1B7F-1E92F838A7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98DBD3A-32CC-A1DD-EA42-17FDB6CE2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6C88A6E-A36B-90B6-E34C-BC09B06ABD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994695"/>
      </p:ext>
    </p:extLst>
  </p:cSld>
  <p:clrMapOvr>
    <a:masterClrMapping/>
  </p:clrMapOvr>
  <p:hf hdr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8C371E16-2472-B5E9-DB30-708853B5228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40756" y="1919905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ep four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41F6FE3-B3C0-E897-7B53-CA38A1AC725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23081" y="1921094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ep thre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ECF7079E-640C-FADE-16CC-78787418F6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95246" y="1921094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ep two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06A64A2-568E-E698-3D43-394973EA66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4048" y="1921094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ep on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CE0F9662-801E-C923-6D7C-67D774ED36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2335" y="1919905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algn="l"/>
            <a:r>
              <a:rPr lang="en-US" sz="1600">
                <a:solidFill>
                  <a:schemeClr val="bg1"/>
                </a:solidFill>
                <a:latin typeface="+mj-lt"/>
              </a:rPr>
              <a:t>Step five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A45A8C19-ED22-EB28-3105-6F6C75116C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980296" y="1919905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algn="l"/>
            <a:r>
              <a:rPr lang="en-US" sz="1600">
                <a:solidFill>
                  <a:schemeClr val="bg1"/>
                </a:solidFill>
                <a:latin typeface="+mj-lt"/>
              </a:rPr>
              <a:t>Step six</a:t>
            </a: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7FB7D896-71E4-2FEE-5F61-33B46336E62A}"/>
              </a:ext>
            </a:extLst>
          </p:cNvPr>
          <p:cNvSpPr/>
          <p:nvPr/>
        </p:nvSpPr>
        <p:spPr>
          <a:xfrm>
            <a:off x="6139867" y="1919905"/>
            <a:ext cx="1655064" cy="557784"/>
          </a:xfrm>
          <a:custGeom>
            <a:avLst/>
            <a:gdLst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  <a:gd name="connsiteX3" fmla="*/ 0 w 1837764"/>
              <a:gd name="connsiteY3" fmla="*/ 611717 h 611717"/>
              <a:gd name="connsiteX4" fmla="*/ 0 w 1837764"/>
              <a:gd name="connsiteY4" fmla="*/ 0 h 611717"/>
              <a:gd name="connsiteX0" fmla="*/ 0 w 1837764"/>
              <a:gd name="connsiteY0" fmla="*/ 611717 h 703157"/>
              <a:gd name="connsiteX1" fmla="*/ 0 w 1837764"/>
              <a:gd name="connsiteY1" fmla="*/ 0 h 703157"/>
              <a:gd name="connsiteX2" fmla="*/ 1837764 w 1837764"/>
              <a:gd name="connsiteY2" fmla="*/ 0 h 703157"/>
              <a:gd name="connsiteX3" fmla="*/ 1837764 w 1837764"/>
              <a:gd name="connsiteY3" fmla="*/ 611717 h 703157"/>
              <a:gd name="connsiteX4" fmla="*/ 91440 w 1837764"/>
              <a:gd name="connsiteY4" fmla="*/ 703157 h 703157"/>
              <a:gd name="connsiteX0" fmla="*/ 0 w 1837764"/>
              <a:gd name="connsiteY0" fmla="*/ 611717 h 611717"/>
              <a:gd name="connsiteX1" fmla="*/ 0 w 1837764"/>
              <a:gd name="connsiteY1" fmla="*/ 0 h 611717"/>
              <a:gd name="connsiteX2" fmla="*/ 1837764 w 1837764"/>
              <a:gd name="connsiteY2" fmla="*/ 0 h 611717"/>
              <a:gd name="connsiteX3" fmla="*/ 1837764 w 1837764"/>
              <a:gd name="connsiteY3" fmla="*/ 611717 h 611717"/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611717">
                <a:moveTo>
                  <a:pt x="0" y="0"/>
                </a:moveTo>
                <a:lnTo>
                  <a:pt x="1837764" y="0"/>
                </a:lnTo>
                <a:lnTo>
                  <a:pt x="1837764" y="611717"/>
                </a:lnTo>
              </a:path>
            </a:pathLst>
          </a:cu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C912DB6F-57B3-361B-1E3E-D1CB0E9C7E48}"/>
              </a:ext>
            </a:extLst>
          </p:cNvPr>
          <p:cNvSpPr/>
          <p:nvPr/>
        </p:nvSpPr>
        <p:spPr>
          <a:xfrm>
            <a:off x="4222192" y="1919905"/>
            <a:ext cx="1655064" cy="557784"/>
          </a:xfrm>
          <a:custGeom>
            <a:avLst/>
            <a:gdLst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  <a:gd name="connsiteX3" fmla="*/ 0 w 1837764"/>
              <a:gd name="connsiteY3" fmla="*/ 611717 h 611717"/>
              <a:gd name="connsiteX4" fmla="*/ 0 w 1837764"/>
              <a:gd name="connsiteY4" fmla="*/ 0 h 611717"/>
              <a:gd name="connsiteX0" fmla="*/ 0 w 1837764"/>
              <a:gd name="connsiteY0" fmla="*/ 611717 h 703157"/>
              <a:gd name="connsiteX1" fmla="*/ 0 w 1837764"/>
              <a:gd name="connsiteY1" fmla="*/ 0 h 703157"/>
              <a:gd name="connsiteX2" fmla="*/ 1837764 w 1837764"/>
              <a:gd name="connsiteY2" fmla="*/ 0 h 703157"/>
              <a:gd name="connsiteX3" fmla="*/ 1837764 w 1837764"/>
              <a:gd name="connsiteY3" fmla="*/ 611717 h 703157"/>
              <a:gd name="connsiteX4" fmla="*/ 91440 w 1837764"/>
              <a:gd name="connsiteY4" fmla="*/ 703157 h 703157"/>
              <a:gd name="connsiteX0" fmla="*/ 0 w 1837764"/>
              <a:gd name="connsiteY0" fmla="*/ 611717 h 611717"/>
              <a:gd name="connsiteX1" fmla="*/ 0 w 1837764"/>
              <a:gd name="connsiteY1" fmla="*/ 0 h 611717"/>
              <a:gd name="connsiteX2" fmla="*/ 1837764 w 1837764"/>
              <a:gd name="connsiteY2" fmla="*/ 0 h 611717"/>
              <a:gd name="connsiteX3" fmla="*/ 1837764 w 1837764"/>
              <a:gd name="connsiteY3" fmla="*/ 611717 h 611717"/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611717">
                <a:moveTo>
                  <a:pt x="0" y="0"/>
                </a:moveTo>
                <a:lnTo>
                  <a:pt x="1837764" y="0"/>
                </a:lnTo>
                <a:lnTo>
                  <a:pt x="1837764" y="611717"/>
                </a:lnTo>
              </a:path>
            </a:pathLst>
          </a:cu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80660498-77D8-499D-32B1-D72A2C01290C}"/>
              </a:ext>
            </a:extLst>
          </p:cNvPr>
          <p:cNvSpPr/>
          <p:nvPr/>
        </p:nvSpPr>
        <p:spPr>
          <a:xfrm>
            <a:off x="2294357" y="1919905"/>
            <a:ext cx="1655064" cy="557784"/>
          </a:xfrm>
          <a:custGeom>
            <a:avLst/>
            <a:gdLst>
              <a:gd name="connsiteX0" fmla="*/ 0 w 1837764"/>
              <a:gd name="connsiteY0" fmla="*/ 0 h 807944"/>
              <a:gd name="connsiteX1" fmla="*/ 1837764 w 1837764"/>
              <a:gd name="connsiteY1" fmla="*/ 0 h 807944"/>
              <a:gd name="connsiteX2" fmla="*/ 1837764 w 1837764"/>
              <a:gd name="connsiteY2" fmla="*/ 807944 h 807944"/>
              <a:gd name="connsiteX3" fmla="*/ 0 w 1837764"/>
              <a:gd name="connsiteY3" fmla="*/ 807944 h 807944"/>
              <a:gd name="connsiteX4" fmla="*/ 0 w 1837764"/>
              <a:gd name="connsiteY4" fmla="*/ 0 h 807944"/>
              <a:gd name="connsiteX0" fmla="*/ 0 w 1837764"/>
              <a:gd name="connsiteY0" fmla="*/ 807944 h 899384"/>
              <a:gd name="connsiteX1" fmla="*/ 0 w 1837764"/>
              <a:gd name="connsiteY1" fmla="*/ 0 h 899384"/>
              <a:gd name="connsiteX2" fmla="*/ 1837764 w 1837764"/>
              <a:gd name="connsiteY2" fmla="*/ 0 h 899384"/>
              <a:gd name="connsiteX3" fmla="*/ 1837764 w 1837764"/>
              <a:gd name="connsiteY3" fmla="*/ 807944 h 899384"/>
              <a:gd name="connsiteX4" fmla="*/ 91440 w 1837764"/>
              <a:gd name="connsiteY4" fmla="*/ 899384 h 899384"/>
              <a:gd name="connsiteX0" fmla="*/ 0 w 1837764"/>
              <a:gd name="connsiteY0" fmla="*/ 807944 h 807944"/>
              <a:gd name="connsiteX1" fmla="*/ 0 w 1837764"/>
              <a:gd name="connsiteY1" fmla="*/ 0 h 807944"/>
              <a:gd name="connsiteX2" fmla="*/ 1837764 w 1837764"/>
              <a:gd name="connsiteY2" fmla="*/ 0 h 807944"/>
              <a:gd name="connsiteX3" fmla="*/ 1837764 w 1837764"/>
              <a:gd name="connsiteY3" fmla="*/ 807944 h 807944"/>
              <a:gd name="connsiteX0" fmla="*/ 0 w 1837764"/>
              <a:gd name="connsiteY0" fmla="*/ 0 h 807944"/>
              <a:gd name="connsiteX1" fmla="*/ 1837764 w 1837764"/>
              <a:gd name="connsiteY1" fmla="*/ 0 h 807944"/>
              <a:gd name="connsiteX2" fmla="*/ 1837764 w 1837764"/>
              <a:gd name="connsiteY2" fmla="*/ 807944 h 80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807944">
                <a:moveTo>
                  <a:pt x="0" y="0"/>
                </a:moveTo>
                <a:lnTo>
                  <a:pt x="1837764" y="0"/>
                </a:lnTo>
                <a:lnTo>
                  <a:pt x="1837764" y="807944"/>
                </a:lnTo>
              </a:path>
            </a:pathLst>
          </a:cu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FE7836-3504-1473-E75D-C9EA3314A5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low char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824E4DA-97AF-DF27-7906-8D97239C77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09252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BA9839A-1FF5-C887-E418-669D133FDD9C}"/>
              </a:ext>
            </a:extLst>
          </p:cNvPr>
          <p:cNvSpPr/>
          <p:nvPr/>
        </p:nvSpPr>
        <p:spPr>
          <a:xfrm>
            <a:off x="384048" y="1921094"/>
            <a:ext cx="1654302" cy="556595"/>
          </a:xfrm>
          <a:custGeom>
            <a:avLst/>
            <a:gdLst>
              <a:gd name="connsiteX0" fmla="*/ 0 w 1837764"/>
              <a:gd name="connsiteY0" fmla="*/ 0 h 807944"/>
              <a:gd name="connsiteX1" fmla="*/ 1837764 w 1837764"/>
              <a:gd name="connsiteY1" fmla="*/ 0 h 807944"/>
              <a:gd name="connsiteX2" fmla="*/ 1837764 w 1837764"/>
              <a:gd name="connsiteY2" fmla="*/ 807944 h 807944"/>
              <a:gd name="connsiteX3" fmla="*/ 0 w 1837764"/>
              <a:gd name="connsiteY3" fmla="*/ 807944 h 807944"/>
              <a:gd name="connsiteX4" fmla="*/ 0 w 1837764"/>
              <a:gd name="connsiteY4" fmla="*/ 0 h 807944"/>
              <a:gd name="connsiteX0" fmla="*/ 0 w 1837764"/>
              <a:gd name="connsiteY0" fmla="*/ 807944 h 899384"/>
              <a:gd name="connsiteX1" fmla="*/ 0 w 1837764"/>
              <a:gd name="connsiteY1" fmla="*/ 0 h 899384"/>
              <a:gd name="connsiteX2" fmla="*/ 1837764 w 1837764"/>
              <a:gd name="connsiteY2" fmla="*/ 0 h 899384"/>
              <a:gd name="connsiteX3" fmla="*/ 1837764 w 1837764"/>
              <a:gd name="connsiteY3" fmla="*/ 807944 h 899384"/>
              <a:gd name="connsiteX4" fmla="*/ 91440 w 1837764"/>
              <a:gd name="connsiteY4" fmla="*/ 899384 h 899384"/>
              <a:gd name="connsiteX0" fmla="*/ 0 w 1837764"/>
              <a:gd name="connsiteY0" fmla="*/ 807944 h 807944"/>
              <a:gd name="connsiteX1" fmla="*/ 0 w 1837764"/>
              <a:gd name="connsiteY1" fmla="*/ 0 h 807944"/>
              <a:gd name="connsiteX2" fmla="*/ 1837764 w 1837764"/>
              <a:gd name="connsiteY2" fmla="*/ 0 h 807944"/>
              <a:gd name="connsiteX3" fmla="*/ 1837764 w 1837764"/>
              <a:gd name="connsiteY3" fmla="*/ 807944 h 807944"/>
              <a:gd name="connsiteX0" fmla="*/ 0 w 1837764"/>
              <a:gd name="connsiteY0" fmla="*/ 0 h 807944"/>
              <a:gd name="connsiteX1" fmla="*/ 1837764 w 1837764"/>
              <a:gd name="connsiteY1" fmla="*/ 0 h 807944"/>
              <a:gd name="connsiteX2" fmla="*/ 1837764 w 1837764"/>
              <a:gd name="connsiteY2" fmla="*/ 807944 h 80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807944">
                <a:moveTo>
                  <a:pt x="0" y="0"/>
                </a:moveTo>
                <a:lnTo>
                  <a:pt x="1837764" y="0"/>
                </a:lnTo>
                <a:lnTo>
                  <a:pt x="1837764" y="807944"/>
                </a:lnTo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341FEE89-5BE0-8571-3EC9-9738D8C95AA8}"/>
              </a:ext>
            </a:extLst>
          </p:cNvPr>
          <p:cNvSpPr/>
          <p:nvPr/>
        </p:nvSpPr>
        <p:spPr>
          <a:xfrm>
            <a:off x="8051446" y="1919905"/>
            <a:ext cx="1655064" cy="557784"/>
          </a:xfrm>
          <a:custGeom>
            <a:avLst/>
            <a:gdLst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  <a:gd name="connsiteX3" fmla="*/ 0 w 1837764"/>
              <a:gd name="connsiteY3" fmla="*/ 611717 h 611717"/>
              <a:gd name="connsiteX4" fmla="*/ 0 w 1837764"/>
              <a:gd name="connsiteY4" fmla="*/ 0 h 611717"/>
              <a:gd name="connsiteX0" fmla="*/ 0 w 1837764"/>
              <a:gd name="connsiteY0" fmla="*/ 611717 h 703157"/>
              <a:gd name="connsiteX1" fmla="*/ 0 w 1837764"/>
              <a:gd name="connsiteY1" fmla="*/ 0 h 703157"/>
              <a:gd name="connsiteX2" fmla="*/ 1837764 w 1837764"/>
              <a:gd name="connsiteY2" fmla="*/ 0 h 703157"/>
              <a:gd name="connsiteX3" fmla="*/ 1837764 w 1837764"/>
              <a:gd name="connsiteY3" fmla="*/ 611717 h 703157"/>
              <a:gd name="connsiteX4" fmla="*/ 91440 w 1837764"/>
              <a:gd name="connsiteY4" fmla="*/ 703157 h 703157"/>
              <a:gd name="connsiteX0" fmla="*/ 0 w 1837764"/>
              <a:gd name="connsiteY0" fmla="*/ 611717 h 611717"/>
              <a:gd name="connsiteX1" fmla="*/ 0 w 1837764"/>
              <a:gd name="connsiteY1" fmla="*/ 0 h 611717"/>
              <a:gd name="connsiteX2" fmla="*/ 1837764 w 1837764"/>
              <a:gd name="connsiteY2" fmla="*/ 0 h 611717"/>
              <a:gd name="connsiteX3" fmla="*/ 1837764 w 1837764"/>
              <a:gd name="connsiteY3" fmla="*/ 611717 h 611717"/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611717">
                <a:moveTo>
                  <a:pt x="0" y="0"/>
                </a:moveTo>
                <a:lnTo>
                  <a:pt x="1837764" y="0"/>
                </a:lnTo>
                <a:lnTo>
                  <a:pt x="1837764" y="611717"/>
                </a:lnTo>
              </a:path>
            </a:pathLst>
          </a:cu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18" name="Rectangle 10">
            <a:extLst>
              <a:ext uri="{FF2B5EF4-FFF2-40B4-BE49-F238E27FC236}">
                <a16:creationId xmlns:a16="http://schemas.microsoft.com/office/drawing/2014/main" id="{78DCF038-6E18-2215-B825-4562EE67C0B9}"/>
              </a:ext>
            </a:extLst>
          </p:cNvPr>
          <p:cNvSpPr/>
          <p:nvPr/>
        </p:nvSpPr>
        <p:spPr>
          <a:xfrm>
            <a:off x="9979407" y="1919905"/>
            <a:ext cx="1655064" cy="557784"/>
          </a:xfrm>
          <a:custGeom>
            <a:avLst/>
            <a:gdLst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  <a:gd name="connsiteX3" fmla="*/ 0 w 1837764"/>
              <a:gd name="connsiteY3" fmla="*/ 611717 h 611717"/>
              <a:gd name="connsiteX4" fmla="*/ 0 w 1837764"/>
              <a:gd name="connsiteY4" fmla="*/ 0 h 611717"/>
              <a:gd name="connsiteX0" fmla="*/ 0 w 1837764"/>
              <a:gd name="connsiteY0" fmla="*/ 611717 h 703157"/>
              <a:gd name="connsiteX1" fmla="*/ 0 w 1837764"/>
              <a:gd name="connsiteY1" fmla="*/ 0 h 703157"/>
              <a:gd name="connsiteX2" fmla="*/ 1837764 w 1837764"/>
              <a:gd name="connsiteY2" fmla="*/ 0 h 703157"/>
              <a:gd name="connsiteX3" fmla="*/ 1837764 w 1837764"/>
              <a:gd name="connsiteY3" fmla="*/ 611717 h 703157"/>
              <a:gd name="connsiteX4" fmla="*/ 91440 w 1837764"/>
              <a:gd name="connsiteY4" fmla="*/ 703157 h 703157"/>
              <a:gd name="connsiteX0" fmla="*/ 0 w 1837764"/>
              <a:gd name="connsiteY0" fmla="*/ 611717 h 611717"/>
              <a:gd name="connsiteX1" fmla="*/ 0 w 1837764"/>
              <a:gd name="connsiteY1" fmla="*/ 0 h 611717"/>
              <a:gd name="connsiteX2" fmla="*/ 1837764 w 1837764"/>
              <a:gd name="connsiteY2" fmla="*/ 0 h 611717"/>
              <a:gd name="connsiteX3" fmla="*/ 1837764 w 1837764"/>
              <a:gd name="connsiteY3" fmla="*/ 611717 h 611717"/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611717">
                <a:moveTo>
                  <a:pt x="0" y="0"/>
                </a:moveTo>
                <a:lnTo>
                  <a:pt x="1837764" y="0"/>
                </a:lnTo>
                <a:lnTo>
                  <a:pt x="1837764" y="611717"/>
                </a:lnTo>
              </a:path>
            </a:pathLst>
          </a:cu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9D93EB9-D9E1-55C5-95E8-9C562FD1FCC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730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6AA4197-BCC5-37BA-F5A1-5376504FE88B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2294357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A565B5CE-A6D7-9E80-5B97-EE698A6383FB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22192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C9EC958-B1D2-B3A3-E7A4-C5FF2FF07CB9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139867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809A0E23-F2A5-E26E-C2EA-0C1BE81EADBB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8051446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EAF8231B-BA2E-9CD1-FD59-E8E3972B0C3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9979407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5AE1562-973D-6698-B3EA-DB16B1497F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F69B3C9-A9B1-6DD5-61AC-A894E91356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8CF5780F-A037-39E6-3C58-A8BAEC384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1044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1">
    <p:bg>
      <p:bgPr>
        <a:gradFill flip="none" rotWithShape="1">
          <a:gsLst>
            <a:gs pos="2000">
              <a:schemeClr val="tx1"/>
            </a:gs>
            <a:gs pos="49000">
              <a:schemeClr val="tx1">
                <a:alpha val="82000"/>
              </a:schemeClr>
            </a:gs>
            <a:gs pos="26000">
              <a:schemeClr val="tx1">
                <a:alpha val="85000"/>
              </a:schemeClr>
            </a:gs>
            <a:gs pos="100000">
              <a:srgbClr val="01A982"/>
            </a:gs>
            <a:gs pos="87000">
              <a:schemeClr val="accent1">
                <a:lumMod val="50000"/>
                <a:alpha val="86000"/>
              </a:schemeClr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63B3E205-F60A-44B3-F47D-5266339A2C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1375963"/>
            <a:ext cx="10817352" cy="4091186"/>
          </a:xfrm>
          <a:gradFill flip="none" rotWithShape="1">
            <a:gsLst>
              <a:gs pos="60000">
                <a:schemeClr val="accent1">
                  <a:lumMod val="50000"/>
                  <a:alpha val="25000"/>
                </a:schemeClr>
              </a:gs>
              <a:gs pos="77000">
                <a:schemeClr val="accent1">
                  <a:lumMod val="50000"/>
                  <a:alpha val="37000"/>
                </a:schemeClr>
              </a:gs>
              <a:gs pos="1000">
                <a:schemeClr val="tx1"/>
              </a:gs>
              <a:gs pos="22000">
                <a:schemeClr val="tx1">
                  <a:alpha val="29000"/>
                </a:schemeClr>
              </a:gs>
              <a:gs pos="47000">
                <a:schemeClr val="tx1">
                  <a:alpha val="6000"/>
                </a:schemeClr>
              </a:gs>
              <a:gs pos="100000">
                <a:srgbClr val="01A982"/>
              </a:gs>
            </a:gsLst>
            <a:lin ang="0" scaled="1"/>
            <a:tileRect/>
          </a:gradFill>
        </p:spPr>
        <p:txBody>
          <a:bodyPr vert="horz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844088" cy="847538"/>
          </a:xfrm>
        </p:spPr>
        <p:txBody>
          <a:bodyPr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Big idea statement single lin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5C76B0B3-CD63-C02A-0E06-AE7F8F7311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410FDA5-121E-026E-A970-A56B1080B1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9434B39-FD71-1676-EC29-EC8697344E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70766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2">
    <p:bg>
      <p:bgPr>
        <a:gradFill>
          <a:gsLst>
            <a:gs pos="2000">
              <a:schemeClr val="tx1"/>
            </a:gs>
            <a:gs pos="49000">
              <a:schemeClr val="tx1">
                <a:alpha val="82000"/>
              </a:schemeClr>
            </a:gs>
            <a:gs pos="26000">
              <a:schemeClr val="tx1">
                <a:alpha val="85000"/>
              </a:schemeClr>
            </a:gs>
            <a:gs pos="100000">
              <a:srgbClr val="01A982"/>
            </a:gs>
            <a:gs pos="87000">
              <a:schemeClr val="accent1">
                <a:lumMod val="50000"/>
                <a:alpha val="86000"/>
              </a:schemeClr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11DE90A-2765-47CB-1E35-33AD7C2DA1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1375963"/>
            <a:ext cx="10817352" cy="4091186"/>
          </a:xfrm>
          <a:gradFill flip="none" rotWithShape="1">
            <a:gsLst>
              <a:gs pos="60000">
                <a:schemeClr val="accent1">
                  <a:lumMod val="50000"/>
                  <a:alpha val="25000"/>
                </a:schemeClr>
              </a:gs>
              <a:gs pos="77000">
                <a:schemeClr val="accent1">
                  <a:lumMod val="50000"/>
                  <a:alpha val="37000"/>
                </a:schemeClr>
              </a:gs>
              <a:gs pos="1000">
                <a:schemeClr val="tx1"/>
              </a:gs>
              <a:gs pos="22000">
                <a:schemeClr val="tx1">
                  <a:alpha val="29000"/>
                </a:schemeClr>
              </a:gs>
              <a:gs pos="47000">
                <a:schemeClr val="tx1">
                  <a:alpha val="6000"/>
                </a:schemeClr>
              </a:gs>
              <a:gs pos="100000">
                <a:srgbClr val="01A982"/>
              </a:gs>
            </a:gsLst>
            <a:lin ang="0" scaled="1"/>
            <a:tileRect/>
          </a:gradFill>
        </p:spPr>
        <p:txBody>
          <a:bodyPr vert="horz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>
                <a:solidFill>
                  <a:schemeClr val="bg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3813854-2F26-E811-AAA7-21B7563A4F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DF8B3ED1-14C6-F900-EBEA-0BB6CE2B4B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FAB68A3-715F-0518-1CED-5E6A5A4B69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4049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AFC948D4-0CEC-6A2D-189D-04B09EF14D9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989949" y="0"/>
            <a:ext cx="6858000" cy="6858000"/>
          </a:xfrm>
          <a:custGeom>
            <a:avLst/>
            <a:gdLst>
              <a:gd name="connsiteX0" fmla="*/ 709302 w 6846809"/>
              <a:gd name="connsiteY0" fmla="*/ 0 h 6875033"/>
              <a:gd name="connsiteX1" fmla="*/ 3782135 w 6846809"/>
              <a:gd name="connsiteY1" fmla="*/ 0 h 6875033"/>
              <a:gd name="connsiteX2" fmla="*/ 6846809 w 6846809"/>
              <a:gd name="connsiteY2" fmla="*/ 3035696 h 6875033"/>
              <a:gd name="connsiteX3" fmla="*/ 3043775 w 6846809"/>
              <a:gd name="connsiteY3" fmla="*/ 6875033 h 6875033"/>
              <a:gd name="connsiteX4" fmla="*/ 0 w 6846809"/>
              <a:gd name="connsiteY4" fmla="*/ 6875033 h 6875033"/>
              <a:gd name="connsiteX5" fmla="*/ 0 w 6846809"/>
              <a:gd name="connsiteY5" fmla="*/ 6875032 h 6875033"/>
              <a:gd name="connsiteX6" fmla="*/ 3788642 w 6846809"/>
              <a:gd name="connsiteY6" fmla="*/ 3050224 h 687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6809" h="6875033">
                <a:moveTo>
                  <a:pt x="709302" y="0"/>
                </a:moveTo>
                <a:lnTo>
                  <a:pt x="3782135" y="0"/>
                </a:lnTo>
                <a:lnTo>
                  <a:pt x="6846809" y="3035696"/>
                </a:lnTo>
                <a:lnTo>
                  <a:pt x="3043775" y="6875033"/>
                </a:lnTo>
                <a:lnTo>
                  <a:pt x="0" y="6875033"/>
                </a:lnTo>
                <a:lnTo>
                  <a:pt x="0" y="6875032"/>
                </a:lnTo>
                <a:lnTo>
                  <a:pt x="3788642" y="3050224"/>
                </a:lnTo>
                <a:close/>
              </a:path>
            </a:pathLst>
          </a:custGeom>
          <a:gradFill flip="none" rotWithShape="1">
            <a:gsLst>
              <a:gs pos="20000">
                <a:schemeClr val="tx1"/>
              </a:gs>
              <a:gs pos="60000">
                <a:schemeClr val="accent1">
                  <a:lumMod val="85000"/>
                  <a:alpha val="55449"/>
                </a:schemeClr>
              </a:gs>
              <a:gs pos="93000">
                <a:srgbClr val="01A982"/>
              </a:gs>
            </a:gsLst>
            <a:lin ang="201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91440" bIns="45720" rtlCol="0" anchor="ctr">
            <a:noAutofit/>
          </a:bodyPr>
          <a:lstStyle>
            <a:lvl1pPr>
              <a:defRPr lang="en-US" sz="100" dirty="0">
                <a:noFill/>
                <a:latin typeface="HPE Graphik Light" pitchFamily="50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22576"/>
            <a:ext cx="10098780" cy="847538"/>
          </a:xfrm>
        </p:spPr>
        <p:txBody>
          <a:bodyPr/>
          <a:lstStyle>
            <a:lvl1pPr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/>
              <a:t>Big idea statement single lin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51EBBB9-CF9C-846A-0F29-E5C24CB4A6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2FEC898-9305-9753-5341-7AAA38D761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A3BD7E9-1E5B-BEB3-1BA5-9A7071844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62791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multiple lin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C672C22-F6BF-2380-E14C-5D76360CFA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989949" y="0"/>
            <a:ext cx="6858000" cy="6858000"/>
          </a:xfrm>
          <a:custGeom>
            <a:avLst/>
            <a:gdLst>
              <a:gd name="connsiteX0" fmla="*/ 709302 w 6846809"/>
              <a:gd name="connsiteY0" fmla="*/ 0 h 6875033"/>
              <a:gd name="connsiteX1" fmla="*/ 3782135 w 6846809"/>
              <a:gd name="connsiteY1" fmla="*/ 0 h 6875033"/>
              <a:gd name="connsiteX2" fmla="*/ 6846809 w 6846809"/>
              <a:gd name="connsiteY2" fmla="*/ 3035696 h 6875033"/>
              <a:gd name="connsiteX3" fmla="*/ 3043775 w 6846809"/>
              <a:gd name="connsiteY3" fmla="*/ 6875033 h 6875033"/>
              <a:gd name="connsiteX4" fmla="*/ 0 w 6846809"/>
              <a:gd name="connsiteY4" fmla="*/ 6875033 h 6875033"/>
              <a:gd name="connsiteX5" fmla="*/ 0 w 6846809"/>
              <a:gd name="connsiteY5" fmla="*/ 6875032 h 6875033"/>
              <a:gd name="connsiteX6" fmla="*/ 3788642 w 6846809"/>
              <a:gd name="connsiteY6" fmla="*/ 3050224 h 687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6809" h="6875033">
                <a:moveTo>
                  <a:pt x="709302" y="0"/>
                </a:moveTo>
                <a:lnTo>
                  <a:pt x="3782135" y="0"/>
                </a:lnTo>
                <a:lnTo>
                  <a:pt x="6846809" y="3035696"/>
                </a:lnTo>
                <a:lnTo>
                  <a:pt x="3043775" y="6875033"/>
                </a:lnTo>
                <a:lnTo>
                  <a:pt x="0" y="6875033"/>
                </a:lnTo>
                <a:lnTo>
                  <a:pt x="0" y="6875032"/>
                </a:lnTo>
                <a:lnTo>
                  <a:pt x="3788642" y="3050224"/>
                </a:lnTo>
                <a:close/>
              </a:path>
            </a:pathLst>
          </a:custGeom>
          <a:gradFill flip="none" rotWithShape="1">
            <a:gsLst>
              <a:gs pos="20000">
                <a:schemeClr val="tx1"/>
              </a:gs>
              <a:gs pos="60000">
                <a:schemeClr val="accent1">
                  <a:lumMod val="85000"/>
                  <a:alpha val="55449"/>
                </a:schemeClr>
              </a:gs>
              <a:gs pos="92000">
                <a:srgbClr val="01A982"/>
              </a:gs>
            </a:gsLst>
            <a:lin ang="201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91440" bIns="45720" rtlCol="0" anchor="ctr">
            <a:noAutofit/>
          </a:bodyPr>
          <a:lstStyle>
            <a:lvl1pPr>
              <a:defRPr lang="en-US" sz="100" dirty="0">
                <a:noFill/>
                <a:latin typeface="HPE Graphik Light" pitchFamily="50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>
                <a:solidFill>
                  <a:schemeClr val="bg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300C277-2C20-0C4B-50D2-921CBDE49A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50428A-F7EE-9D8C-A25E-65D79E0247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6E2C4D4-777B-1BC4-38E9-F45D68A9BB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699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73E4D6-A687-8988-0047-9C25B875EC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6949440" cy="6858000"/>
          </a:xfrm>
          <a:custGeom>
            <a:avLst/>
            <a:gdLst>
              <a:gd name="connsiteX0" fmla="*/ 709302 w 6846809"/>
              <a:gd name="connsiteY0" fmla="*/ 0 h 6875033"/>
              <a:gd name="connsiteX1" fmla="*/ 3782135 w 6846809"/>
              <a:gd name="connsiteY1" fmla="*/ 0 h 6875033"/>
              <a:gd name="connsiteX2" fmla="*/ 6846809 w 6846809"/>
              <a:gd name="connsiteY2" fmla="*/ 3035696 h 6875033"/>
              <a:gd name="connsiteX3" fmla="*/ 3043775 w 6846809"/>
              <a:gd name="connsiteY3" fmla="*/ 6875033 h 6875033"/>
              <a:gd name="connsiteX4" fmla="*/ 0 w 6846809"/>
              <a:gd name="connsiteY4" fmla="*/ 6875033 h 6875033"/>
              <a:gd name="connsiteX5" fmla="*/ 0 w 6846809"/>
              <a:gd name="connsiteY5" fmla="*/ 6875032 h 6875033"/>
              <a:gd name="connsiteX6" fmla="*/ 3788642 w 6846809"/>
              <a:gd name="connsiteY6" fmla="*/ 3050224 h 687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6809" h="6875033">
                <a:moveTo>
                  <a:pt x="709302" y="0"/>
                </a:moveTo>
                <a:lnTo>
                  <a:pt x="3782135" y="0"/>
                </a:lnTo>
                <a:lnTo>
                  <a:pt x="6846809" y="3035696"/>
                </a:lnTo>
                <a:lnTo>
                  <a:pt x="3043775" y="6875033"/>
                </a:lnTo>
                <a:lnTo>
                  <a:pt x="0" y="6875033"/>
                </a:lnTo>
                <a:lnTo>
                  <a:pt x="0" y="6875032"/>
                </a:lnTo>
                <a:lnTo>
                  <a:pt x="3788642" y="3050224"/>
                </a:lnTo>
                <a:close/>
              </a:path>
            </a:pathLst>
          </a:custGeom>
          <a:gradFill flip="none" rotWithShape="1">
            <a:gsLst>
              <a:gs pos="85000">
                <a:schemeClr val="tx1">
                  <a:alpha val="0"/>
                </a:schemeClr>
              </a:gs>
              <a:gs pos="54000">
                <a:srgbClr val="0180E7"/>
              </a:gs>
              <a:gs pos="25000">
                <a:srgbClr val="05CC93"/>
              </a:gs>
              <a:gs pos="67000">
                <a:srgbClr val="1154AA"/>
              </a:gs>
              <a:gs pos="77000">
                <a:schemeClr val="tx1"/>
              </a:gs>
              <a:gs pos="60000">
                <a:srgbClr val="0070F8"/>
              </a:gs>
            </a:gsLst>
            <a:lin ang="8100000" scaled="1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904"/>
            <a:ext cx="4062159" cy="3431645"/>
          </a:xfrm>
        </p:spPr>
        <p:txBody>
          <a:bodyPr anchor="t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50B35B5-0E16-96DF-0BFB-AB92FC9129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2FD5D3D-97F2-9E1F-5357-65AE1BC9DB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540EAEA-1473-610A-0B26-DD740A7D64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2820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73E4D6-A687-8988-0047-9C25B875EC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21040" y="-9144"/>
            <a:ext cx="6858000" cy="6858000"/>
          </a:xfrm>
          <a:custGeom>
            <a:avLst/>
            <a:gdLst>
              <a:gd name="connsiteX0" fmla="*/ 709302 w 6846809"/>
              <a:gd name="connsiteY0" fmla="*/ 0 h 6875033"/>
              <a:gd name="connsiteX1" fmla="*/ 3782135 w 6846809"/>
              <a:gd name="connsiteY1" fmla="*/ 0 h 6875033"/>
              <a:gd name="connsiteX2" fmla="*/ 6846809 w 6846809"/>
              <a:gd name="connsiteY2" fmla="*/ 3035696 h 6875033"/>
              <a:gd name="connsiteX3" fmla="*/ 3043775 w 6846809"/>
              <a:gd name="connsiteY3" fmla="*/ 6875033 h 6875033"/>
              <a:gd name="connsiteX4" fmla="*/ 0 w 6846809"/>
              <a:gd name="connsiteY4" fmla="*/ 6875033 h 6875033"/>
              <a:gd name="connsiteX5" fmla="*/ 0 w 6846809"/>
              <a:gd name="connsiteY5" fmla="*/ 6875032 h 6875033"/>
              <a:gd name="connsiteX6" fmla="*/ 3788642 w 6846809"/>
              <a:gd name="connsiteY6" fmla="*/ 3050224 h 687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6809" h="6875033">
                <a:moveTo>
                  <a:pt x="709302" y="0"/>
                </a:moveTo>
                <a:lnTo>
                  <a:pt x="3782135" y="0"/>
                </a:lnTo>
                <a:lnTo>
                  <a:pt x="6846809" y="3035696"/>
                </a:lnTo>
                <a:lnTo>
                  <a:pt x="3043775" y="6875033"/>
                </a:lnTo>
                <a:lnTo>
                  <a:pt x="0" y="6875033"/>
                </a:lnTo>
                <a:lnTo>
                  <a:pt x="0" y="6875032"/>
                </a:lnTo>
                <a:lnTo>
                  <a:pt x="3788642" y="3050224"/>
                </a:lnTo>
                <a:close/>
              </a:path>
            </a:pathLst>
          </a:custGeom>
          <a:gradFill flip="none" rotWithShape="1">
            <a:gsLst>
              <a:gs pos="20000">
                <a:srgbClr val="05CC93"/>
              </a:gs>
              <a:gs pos="54000">
                <a:srgbClr val="0070F8"/>
              </a:gs>
              <a:gs pos="96552">
                <a:schemeClr val="tx1"/>
              </a:gs>
              <a:gs pos="82000">
                <a:schemeClr val="tx1">
                  <a:alpha val="59000"/>
                </a:schemeClr>
              </a:gs>
            </a:gsLst>
            <a:lin ang="9600000" scaled="0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212849"/>
            <a:ext cx="5676900" cy="3838702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5000">
                <a:solidFill>
                  <a:schemeClr val="bg1"/>
                </a:solidFill>
                <a:latin typeface="HPE Graphik Light" pitchFamily="50" charset="0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1273220-C66E-6D6E-4973-746E2D082F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1D32687-C378-2731-5780-8AFAC45619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4569508-3C4E-DA86-09EB-2679C4769F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937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09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F62E45-E646-3E7E-06BB-E3224354C3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551176"/>
            <a:ext cx="4764024" cy="875899"/>
          </a:xfrm>
        </p:spPr>
        <p:txBody>
          <a:bodyPr/>
          <a:lstStyle>
            <a:lvl1pPr>
              <a:defRPr sz="5600"/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11BDEB5-202A-D756-8CAB-CB275237667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4" y="3392391"/>
            <a:ext cx="4764024" cy="876300"/>
          </a:xfrm>
        </p:spPr>
        <p:txBody>
          <a:bodyPr/>
          <a:lstStyle>
            <a:lvl1pPr>
              <a:spcBef>
                <a:spcPts val="0"/>
              </a:spcBef>
              <a:defRPr sz="1500"/>
            </a:lvl1pPr>
          </a:lstStyle>
          <a:p>
            <a:pPr lvl="0"/>
            <a:r>
              <a:rPr lang="en-US"/>
              <a:t>For additional resources,</a:t>
            </a:r>
            <a:br>
              <a:rPr lang="en-US"/>
            </a:br>
            <a:r>
              <a:rPr lang="en-US"/>
              <a:t>contact brand team at </a:t>
            </a:r>
            <a:r>
              <a:rPr lang="en-US" err="1"/>
              <a:t>xxx@hpe.com</a:t>
            </a:r>
            <a:endParaRPr lang="en-US"/>
          </a:p>
        </p:txBody>
      </p:sp>
      <p:sp>
        <p:nvSpPr>
          <p:cNvPr id="13" name="Text Placeholder 49">
            <a:extLst>
              <a:ext uri="{FF2B5EF4-FFF2-40B4-BE49-F238E27FC236}">
                <a16:creationId xmlns:a16="http://schemas.microsoft.com/office/drawing/2014/main" id="{B649E11F-E266-8609-8564-82440C1E4DB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1235006"/>
            <a:ext cx="9902952" cy="2215355"/>
          </a:xfrm>
          <a:custGeom>
            <a:avLst/>
            <a:gdLst>
              <a:gd name="connsiteX0" fmla="*/ 0 w 9909155"/>
              <a:gd name="connsiteY0" fmla="*/ 0 h 2215355"/>
              <a:gd name="connsiteX1" fmla="*/ 9909155 w 9909155"/>
              <a:gd name="connsiteY1" fmla="*/ 0 h 2215355"/>
              <a:gd name="connsiteX2" fmla="*/ 9909155 w 9909155"/>
              <a:gd name="connsiteY2" fmla="*/ 2215355 h 2215355"/>
              <a:gd name="connsiteX3" fmla="*/ 9025059 w 9909155"/>
              <a:gd name="connsiteY3" fmla="*/ 2215355 h 2215355"/>
              <a:gd name="connsiteX4" fmla="*/ 9025059 w 9909155"/>
              <a:gd name="connsiteY4" fmla="*/ 884110 h 2215355"/>
              <a:gd name="connsiteX5" fmla="*/ 0 w 9909155"/>
              <a:gd name="connsiteY5" fmla="*/ 884110 h 221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9155" h="2215355">
                <a:moveTo>
                  <a:pt x="0" y="0"/>
                </a:moveTo>
                <a:lnTo>
                  <a:pt x="9909155" y="0"/>
                </a:lnTo>
                <a:lnTo>
                  <a:pt x="9909155" y="2215355"/>
                </a:lnTo>
                <a:lnTo>
                  <a:pt x="9025059" y="2215355"/>
                </a:lnTo>
                <a:lnTo>
                  <a:pt x="9025059" y="884110"/>
                </a:lnTo>
                <a:lnTo>
                  <a:pt x="0" y="884110"/>
                </a:lnTo>
                <a:close/>
              </a:path>
            </a:pathLst>
          </a:custGeom>
          <a:gradFill>
            <a:gsLst>
              <a:gs pos="24000">
                <a:srgbClr val="00E0AF"/>
              </a:gs>
              <a:gs pos="12000">
                <a:srgbClr val="05CC93"/>
              </a:gs>
              <a:gs pos="96552">
                <a:schemeClr val="tx1"/>
              </a:gs>
              <a:gs pos="70000">
                <a:srgbClr val="0070F8">
                  <a:alpha val="75000"/>
                </a:srgbClr>
              </a:gs>
            </a:gsLst>
            <a:lin ang="10200000" scaled="0"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dirty="0" smtClean="0">
                <a:noFill/>
              </a:defRPr>
            </a:lvl1pPr>
            <a:lvl2pPr>
              <a:defRPr lang="en-US" dirty="0" smtClean="0">
                <a:noFill/>
              </a:defRPr>
            </a:lvl2pPr>
            <a:lvl3pPr>
              <a:defRPr lang="en-US" dirty="0" smtClean="0">
                <a:noFill/>
              </a:defRPr>
            </a:lvl3pPr>
            <a:lvl4pPr>
              <a:defRPr lang="en-US" dirty="0" smtClean="0">
                <a:noFill/>
              </a:defRPr>
            </a:lvl4pPr>
            <a:lvl5pPr>
              <a:defRPr lang="en-US" dirty="0">
                <a:noFill/>
                <a:latin typeface="HPE Graphik Light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52">
            <a:extLst>
              <a:ext uri="{FF2B5EF4-FFF2-40B4-BE49-F238E27FC236}">
                <a16:creationId xmlns:a16="http://schemas.microsoft.com/office/drawing/2014/main" id="{6D7DF2C8-D76B-EE25-C1A5-995235F9676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3450362"/>
            <a:ext cx="9902952" cy="2205195"/>
          </a:xfrm>
          <a:custGeom>
            <a:avLst/>
            <a:gdLst>
              <a:gd name="connsiteX0" fmla="*/ 9025059 w 9909155"/>
              <a:gd name="connsiteY0" fmla="*/ 0 h 2205195"/>
              <a:gd name="connsiteX1" fmla="*/ 9909155 w 9909155"/>
              <a:gd name="connsiteY1" fmla="*/ 0 h 2205195"/>
              <a:gd name="connsiteX2" fmla="*/ 9909155 w 9909155"/>
              <a:gd name="connsiteY2" fmla="*/ 2205195 h 2205195"/>
              <a:gd name="connsiteX3" fmla="*/ 0 w 9909155"/>
              <a:gd name="connsiteY3" fmla="*/ 2205195 h 2205195"/>
              <a:gd name="connsiteX4" fmla="*/ 0 w 9909155"/>
              <a:gd name="connsiteY4" fmla="*/ 1321085 h 2205195"/>
              <a:gd name="connsiteX5" fmla="*/ 9025059 w 9909155"/>
              <a:gd name="connsiteY5" fmla="*/ 1321085 h 2205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9155" h="2205195">
                <a:moveTo>
                  <a:pt x="9025059" y="0"/>
                </a:moveTo>
                <a:lnTo>
                  <a:pt x="9909155" y="0"/>
                </a:lnTo>
                <a:lnTo>
                  <a:pt x="9909155" y="2205195"/>
                </a:lnTo>
                <a:lnTo>
                  <a:pt x="0" y="2205195"/>
                </a:lnTo>
                <a:lnTo>
                  <a:pt x="0" y="1321085"/>
                </a:lnTo>
                <a:lnTo>
                  <a:pt x="9025059" y="1321085"/>
                </a:lnTo>
                <a:close/>
              </a:path>
            </a:pathLst>
          </a:custGeom>
          <a:gradFill flip="none" rotWithShape="1">
            <a:gsLst>
              <a:gs pos="76000">
                <a:srgbClr val="05CC93"/>
              </a:gs>
              <a:gs pos="11000">
                <a:schemeClr val="tx1"/>
              </a:gs>
              <a:gs pos="91000">
                <a:srgbClr val="05CC93"/>
              </a:gs>
              <a:gs pos="63000">
                <a:srgbClr val="00E0AF"/>
              </a:gs>
            </a:gsLst>
            <a:lin ang="0" scaled="1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sz="100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311EA15-54DB-4E3B-1E34-DFDD4D5924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BD789F0B-188A-6ECD-E025-673218655E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  <a:p>
            <a:pPr algn="r"/>
            <a:r>
              <a:rPr lang="en-US"/>
              <a:t>@2025 Hewlett Packard Enterprise Development LP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B037A8E-B946-A600-242F-7B0743C62F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24476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ark cover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B4236628-B867-8A33-A404-32E5032320AA}"/>
              </a:ext>
            </a:extLst>
          </p:cNvPr>
          <p:cNvGrpSpPr/>
          <p:nvPr/>
        </p:nvGrpSpPr>
        <p:grpSpPr>
          <a:xfrm>
            <a:off x="0" y="0"/>
            <a:ext cx="12188952" cy="6879695"/>
            <a:chOff x="0" y="0"/>
            <a:chExt cx="12188952" cy="6879695"/>
          </a:xfrm>
        </p:grpSpPr>
        <p:sp>
          <p:nvSpPr>
            <p:cNvPr id="12" name="Text Placeholder 260">
              <a:extLst>
                <a:ext uri="{FF2B5EF4-FFF2-40B4-BE49-F238E27FC236}">
                  <a16:creationId xmlns:a16="http://schemas.microsoft.com/office/drawing/2014/main" id="{794D4CAE-8C55-9451-57A0-795E38E1F49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0" y="0"/>
              <a:ext cx="12188952" cy="3467100"/>
            </a:xfrm>
            <a:custGeom>
              <a:avLst/>
              <a:gdLst>
                <a:gd name="connsiteX0" fmla="*/ 0 w 12215306"/>
                <a:gd name="connsiteY0" fmla="*/ 0 h 3429000"/>
                <a:gd name="connsiteX1" fmla="*/ 12215306 w 12215306"/>
                <a:gd name="connsiteY1" fmla="*/ 0 h 3429000"/>
                <a:gd name="connsiteX2" fmla="*/ 12215306 w 12215306"/>
                <a:gd name="connsiteY2" fmla="*/ 3429000 h 3429000"/>
                <a:gd name="connsiteX3" fmla="*/ 10839384 w 12215306"/>
                <a:gd name="connsiteY3" fmla="*/ 3429000 h 3429000"/>
                <a:gd name="connsiteX4" fmla="*/ 10839384 w 12215306"/>
                <a:gd name="connsiteY4" fmla="*/ 1375939 h 3429000"/>
                <a:gd name="connsiteX5" fmla="*/ 0 w 12215306"/>
                <a:gd name="connsiteY5" fmla="*/ 1375939 h 342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15306" h="3429000">
                  <a:moveTo>
                    <a:pt x="0" y="0"/>
                  </a:moveTo>
                  <a:lnTo>
                    <a:pt x="12215306" y="0"/>
                  </a:lnTo>
                  <a:lnTo>
                    <a:pt x="12215306" y="3429000"/>
                  </a:lnTo>
                  <a:lnTo>
                    <a:pt x="10839384" y="3429000"/>
                  </a:lnTo>
                  <a:lnTo>
                    <a:pt x="10839384" y="1375939"/>
                  </a:lnTo>
                  <a:lnTo>
                    <a:pt x="0" y="1375939"/>
                  </a:lnTo>
                  <a:close/>
                </a:path>
              </a:pathLst>
            </a:custGeom>
            <a:gradFill>
              <a:gsLst>
                <a:gs pos="46000">
                  <a:schemeClr val="accent4">
                    <a:lumMod val="75000"/>
                  </a:schemeClr>
                </a:gs>
                <a:gs pos="39000">
                  <a:srgbClr val="00E0AF"/>
                </a:gs>
                <a:gs pos="14000">
                  <a:srgbClr val="05CC93"/>
                </a:gs>
                <a:gs pos="60000">
                  <a:srgbClr val="0070F8"/>
                </a:gs>
                <a:gs pos="96552">
                  <a:schemeClr val="tx1"/>
                </a:gs>
                <a:gs pos="87000">
                  <a:schemeClr val="tx1">
                    <a:alpha val="0"/>
                  </a:schemeClr>
                </a:gs>
              </a:gsLst>
              <a:lin ang="12000000" scaled="0"/>
            </a:gradFill>
          </p:spPr>
          <p:txBody>
            <a:bodyPr vert="horz" wrap="square" lIns="0" tIns="45720" rIns="0" bIns="45720" rtlCol="0">
              <a:noAutofit/>
            </a:bodyPr>
            <a:lstStyle>
              <a:lvl1pPr marL="285750" indent="-28575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lang="en-US" sz="100" kern="1200">
                  <a:noFill/>
                  <a:latin typeface="+mn-lt"/>
                  <a:ea typeface="+mn-ea"/>
                  <a:cs typeface="+mn-cs"/>
                </a:defRPr>
              </a:lvl1pPr>
              <a:lvl2pPr marL="0" indent="-32004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defRPr lang="en-US" sz="100" kern="1200">
                  <a:noFill/>
                  <a:latin typeface="+mn-lt"/>
                  <a:ea typeface="+mn-ea"/>
                  <a:cs typeface="+mn-cs"/>
                </a:defRPr>
              </a:lvl2pPr>
              <a:lvl3pPr marL="641350" indent="-3190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tabLst/>
                <a:defRPr lang="en-US" sz="100" kern="1200">
                  <a:noFill/>
                  <a:latin typeface="+mn-lt"/>
                  <a:ea typeface="+mn-ea"/>
                  <a:cs typeface="+mn-cs"/>
                </a:defRPr>
              </a:lvl3pPr>
              <a:lvl4pPr marL="962025" indent="-3190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tabLst/>
                <a:defRPr lang="en-US" sz="100" kern="1200">
                  <a:noFill/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en-US" sz="100" kern="1200">
                  <a:noFill/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>
                  <a:latin typeface="HPE Graphik Light" pitchFamily="50" charset="0"/>
                </a:rPr>
                <a:t>Click to edit Master text styles</a:t>
              </a:r>
            </a:p>
            <a:p>
              <a:pPr lvl="1"/>
              <a:r>
                <a:rPr lang="en-US">
                  <a:latin typeface="HPE Graphik Light" pitchFamily="50" charset="0"/>
                </a:rPr>
                <a:t>Second level</a:t>
              </a:r>
            </a:p>
            <a:p>
              <a:pPr lvl="2"/>
              <a:r>
                <a:rPr lang="en-US">
                  <a:latin typeface="HPE Graphik Light" pitchFamily="50" charset="0"/>
                </a:rPr>
                <a:t>Third level</a:t>
              </a:r>
            </a:p>
            <a:p>
              <a:pPr lvl="3"/>
              <a:r>
                <a:rPr lang="en-US">
                  <a:latin typeface="HPE Graphik Light" pitchFamily="50" charset="0"/>
                </a:rPr>
                <a:t>Fourth level</a:t>
              </a:r>
            </a:p>
            <a:p>
              <a:pPr lvl="4"/>
              <a:r>
                <a:rPr lang="en-US">
                  <a:latin typeface="HPE Graphik Light" pitchFamily="50" charset="0"/>
                </a:rPr>
                <a:t>Fifth level</a:t>
              </a:r>
            </a:p>
          </p:txBody>
        </p:sp>
        <p:sp>
          <p:nvSpPr>
            <p:cNvPr id="13" name="Text Placeholder 263">
              <a:extLst>
                <a:ext uri="{FF2B5EF4-FFF2-40B4-BE49-F238E27FC236}">
                  <a16:creationId xmlns:a16="http://schemas.microsoft.com/office/drawing/2014/main" id="{D94C0727-0EFE-1CDE-4232-07EAB84F224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0" y="3397250"/>
              <a:ext cx="12188952" cy="3482445"/>
            </a:xfrm>
            <a:custGeom>
              <a:avLst/>
              <a:gdLst>
                <a:gd name="connsiteX0" fmla="*/ 10839384 w 12215306"/>
                <a:gd name="connsiteY0" fmla="*/ 0 h 3443475"/>
                <a:gd name="connsiteX1" fmla="*/ 12215306 w 12215306"/>
                <a:gd name="connsiteY1" fmla="*/ 0 h 3443475"/>
                <a:gd name="connsiteX2" fmla="*/ 12215306 w 12215306"/>
                <a:gd name="connsiteY2" fmla="*/ 3443475 h 3443475"/>
                <a:gd name="connsiteX3" fmla="*/ 0 w 12215306"/>
                <a:gd name="connsiteY3" fmla="*/ 3443475 h 3443475"/>
                <a:gd name="connsiteX4" fmla="*/ 0 w 12215306"/>
                <a:gd name="connsiteY4" fmla="*/ 2067536 h 3443475"/>
                <a:gd name="connsiteX5" fmla="*/ 10839384 w 12215306"/>
                <a:gd name="connsiteY5" fmla="*/ 2067536 h 344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15306" h="3443475">
                  <a:moveTo>
                    <a:pt x="10839384" y="0"/>
                  </a:moveTo>
                  <a:lnTo>
                    <a:pt x="12215306" y="0"/>
                  </a:lnTo>
                  <a:lnTo>
                    <a:pt x="12215306" y="3443475"/>
                  </a:lnTo>
                  <a:lnTo>
                    <a:pt x="0" y="3443475"/>
                  </a:lnTo>
                  <a:lnTo>
                    <a:pt x="0" y="2067536"/>
                  </a:lnTo>
                  <a:lnTo>
                    <a:pt x="10839384" y="2067536"/>
                  </a:lnTo>
                  <a:close/>
                </a:path>
              </a:pathLst>
            </a:custGeom>
            <a:gradFill flip="none" rotWithShape="1">
              <a:gsLst>
                <a:gs pos="17000">
                  <a:schemeClr val="tx1">
                    <a:alpha val="18945"/>
                  </a:schemeClr>
                </a:gs>
                <a:gs pos="52000">
                  <a:srgbClr val="05CC93"/>
                </a:gs>
              </a:gsLst>
              <a:lin ang="1800000" scaled="0"/>
              <a:tileRect/>
            </a:gradFill>
          </p:spPr>
          <p:txBody>
            <a:bodyPr vert="horz" wrap="square" lIns="0" tIns="45720" rIns="0" bIns="45720" rtlCol="0">
              <a:noAutofit/>
            </a:bodyPr>
            <a:lstStyle>
              <a:lvl1pPr marL="285750" indent="-28575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lang="en-US" sz="100" kern="1200" smtClean="0">
                  <a:noFill/>
                  <a:latin typeface="+mn-lt"/>
                  <a:ea typeface="+mn-ea"/>
                  <a:cs typeface="+mn-cs"/>
                </a:defRPr>
              </a:lvl1pPr>
              <a:lvl2pPr marL="0" indent="-32004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defRPr lang="en-US" sz="100" kern="1200" smtClean="0">
                  <a:noFill/>
                  <a:latin typeface="+mn-lt"/>
                  <a:ea typeface="+mn-ea"/>
                  <a:cs typeface="+mn-cs"/>
                </a:defRPr>
              </a:lvl2pPr>
              <a:lvl3pPr marL="641350" indent="-3190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tabLst/>
                <a:defRPr lang="en-US" sz="100" kern="1200" smtClean="0">
                  <a:noFill/>
                  <a:latin typeface="+mn-lt"/>
                  <a:ea typeface="+mn-ea"/>
                  <a:cs typeface="+mn-cs"/>
                </a:defRPr>
              </a:lvl3pPr>
              <a:lvl4pPr marL="962025" indent="-3190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tabLst/>
                <a:defRPr lang="en-US" sz="100" kern="1200" smtClean="0">
                  <a:noFill/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en-US" sz="100" kern="1200">
                  <a:noFill/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>
                  <a:latin typeface="HPE Graphik Light" pitchFamily="50" charset="0"/>
                </a:rPr>
                <a:t>Click to edit Master text styles</a:t>
              </a:r>
            </a:p>
            <a:p>
              <a:pPr lvl="1"/>
              <a:r>
                <a:rPr lang="en-US">
                  <a:latin typeface="HPE Graphik Light" pitchFamily="50" charset="0"/>
                </a:rPr>
                <a:t>Second level</a:t>
              </a:r>
            </a:p>
            <a:p>
              <a:pPr lvl="2"/>
              <a:r>
                <a:rPr lang="en-US">
                  <a:latin typeface="HPE Graphik Light" pitchFamily="50" charset="0"/>
                </a:rPr>
                <a:t>Third level</a:t>
              </a:r>
            </a:p>
            <a:p>
              <a:pPr lvl="3"/>
              <a:r>
                <a:rPr lang="en-US">
                  <a:latin typeface="HPE Graphik Light" pitchFamily="50" charset="0"/>
                </a:rPr>
                <a:t>Fourth level</a:t>
              </a:r>
            </a:p>
            <a:p>
              <a:pPr lvl="4"/>
              <a:r>
                <a:rPr lang="en-US">
                  <a:latin typeface="HPE Graphik Light" pitchFamily="50" charset="0"/>
                </a:rPr>
                <a:t>Fifth level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299945" cy="1577109"/>
          </a:xfrm>
        </p:spPr>
        <p:txBody>
          <a:bodyPr anchor="t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slide, graphic only, </a:t>
            </a:r>
            <a:br>
              <a:rPr lang="en-US"/>
            </a:br>
            <a:r>
              <a:rPr lang="en-US"/>
              <a:t>white type, HPE </a:t>
            </a:r>
            <a:r>
              <a:rPr lang="en-US" err="1"/>
              <a:t>Graphik</a:t>
            </a:r>
            <a:r>
              <a:rPr lang="en-US"/>
              <a:t> Semibol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FDA429-395A-CEEA-1925-D4B82A3007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8100" y="6429247"/>
            <a:ext cx="340782" cy="190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FA8A54-A26F-B0C0-1A73-53A9A812C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rgbClr val="F7F7F7"/>
                </a:solidFill>
                <a:latin typeface="HPE Graphik Light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ternal Use Only – Confidential | Authorized 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D3FAA2F-6C80-558D-CFAA-33E7BBA92E0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9284EB71-D9A0-60BA-33DF-DE5F23F97C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5CD59E97-9AF3-2BCA-07ED-285BCF43CA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9823"/>
          <a:stretch>
            <a:fillRect/>
          </a:stretch>
        </p:blipFill>
        <p:spPr>
          <a:xfrm>
            <a:off x="374905" y="381237"/>
            <a:ext cx="1081756" cy="310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88922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</a:t>
            </a:r>
          </a:p>
        </p:txBody>
      </p:sp>
    </p:spTree>
    <p:extLst>
      <p:ext uri="{BB962C8B-B14F-4D97-AF65-F5344CB8AC3E}">
        <p14:creationId xmlns:p14="http://schemas.microsoft.com/office/powerpoint/2010/main" val="419993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>
            <a:lvl5pPr>
              <a:defRPr>
                <a:latin typeface="HPE Graphik Light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9212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0040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DBAFB-7047-4B08-B7ED-CB050B7FBB50}"/>
              </a:ext>
            </a:extLst>
          </p:cNvPr>
          <p:cNvSpPr>
            <a:spLocks noGrp="1"/>
          </p:cNvSpPr>
          <p:nvPr userDrawn="1"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4267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8534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65687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684489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706189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C7E62B9-7B57-1325-41F8-B563932F3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D4869DF-7C8C-6D6D-CBDF-4F57DD5DF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FBDD54F-6F02-5565-BE03-576E378CDA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C9B879B3-45C8-291E-B795-79029A3CF9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199A56CF-9478-6AE1-8265-95E8C72FD0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A8CED90-83F5-DFF6-245A-6CD299701B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1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8312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8312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918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25812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054674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170141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74748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83901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9150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094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27027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2774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340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3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60021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399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rgbClr val="292D3A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1F8B9-A226-C863-E39B-92687650DA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2C88C5-7051-4300-5EDA-B8F76B6C39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10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45645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3464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927844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73303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599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236158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155675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454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04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19073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9074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0021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02BBC2-BD44-DEAF-58E4-737CC53BBBD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DD5D5E-5ECA-A659-E4D1-059428798A6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26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95096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725164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794855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78324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801599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8162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65774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1365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263428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28143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7EAFD6-415C-88F0-6EE5-4D5D4B8A95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81A8C7-DBC3-6CA7-393A-B76EB01BD15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72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99743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36572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95313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6462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61581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704894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3416215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7194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78806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 smtClean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63608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 anchorCtr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1CB3F7-BD80-2E75-509D-9F8010556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99F5B5-25C5-2F5D-8947-057651169F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E933D73-FF2E-5038-2928-57B052E6DEC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5CFBF7C-9A9D-283B-3040-62F4E8BBA2B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B5786B1-1D78-07AE-99E2-9ACA6A302D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7079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53351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8651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>
              <a:latin typeface="MetricHPE" panose="020B0503030202060203" pitchFamily="34" charset="0"/>
              <a:ea typeface="+mj-ea"/>
              <a:cs typeface="+mj-cs"/>
              <a:sym typeface="MetricHPE" panose="020B0503030202060203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26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7657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>
              <a:latin typeface="MetricHPE" panose="020B0503030202060203" pitchFamily="34" charset="0"/>
              <a:ea typeface="+mj-ea"/>
              <a:cs typeface="+mj-cs"/>
              <a:sym typeface="MetricHPE" panose="020B0503030202060203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26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105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>
            <a:extLst>
              <a:ext uri="{FF2B5EF4-FFF2-40B4-BE49-F238E27FC236}">
                <a16:creationId xmlns:a16="http://schemas.microsoft.com/office/drawing/2014/main" id="{6702D808-AF03-DEF9-0314-E4335A543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1</a:t>
            </a:r>
            <a:endParaRPr lang="en-US"/>
          </a:p>
        </p:txBody>
      </p:sp>
      <p:sp>
        <p:nvSpPr>
          <p:cNvPr id="6" name="Subtitle 3">
            <a:extLst>
              <a:ext uri="{FF2B5EF4-FFF2-40B4-BE49-F238E27FC236}">
                <a16:creationId xmlns:a16="http://schemas.microsoft.com/office/drawing/2014/main" id="{DEE9B376-05EC-3588-37E2-05C039D1F6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061C036-93AE-3BAB-6526-8E33EA4444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DBE2E1BB-CE0A-BA4E-62F3-C11C72B14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E4EC4B5E-61C1-0327-AC26-FD6B85B7F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Logo 1">
            <a:extLst>
              <a:ext uri="{FF2B5EF4-FFF2-40B4-BE49-F238E27FC236}">
                <a16:creationId xmlns:a16="http://schemas.microsoft.com/office/drawing/2014/main" id="{3C7E22E5-C03B-2CCA-4E3D-EFB9B103A95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513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 1">
            <a:extLst>
              <a:ext uri="{FF2B5EF4-FFF2-40B4-BE49-F238E27FC236}">
                <a16:creationId xmlns:a16="http://schemas.microsoft.com/office/drawing/2014/main" id="{2FBDD54F-6F02-5565-BE03-576E378CDA1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9A8CED90-83F5-DFF6-245A-6CD299701B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2</a:t>
            </a:r>
            <a:endParaRPr lang="en-US"/>
          </a:p>
        </p:txBody>
      </p:sp>
      <p:sp>
        <p:nvSpPr>
          <p:cNvPr id="7" name="Subtitle 3">
            <a:extLst>
              <a:ext uri="{FF2B5EF4-FFF2-40B4-BE49-F238E27FC236}">
                <a16:creationId xmlns:a16="http://schemas.microsoft.com/office/drawing/2014/main" id="{C9B879B3-45C8-291E-B795-79029A3CF9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99A56CF-9478-6AE1-8265-95E8C72FD0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4C7E62B9-7B57-1325-41F8-B563932F3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8D4869DF-7C8C-6D6D-CBDF-4F57DD5DF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4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C22247A9-BAB1-E44F-778D-D7B252E624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3</a:t>
            </a:r>
            <a:endParaRPr lang="en-US"/>
          </a:p>
        </p:txBody>
      </p:sp>
      <p:sp>
        <p:nvSpPr>
          <p:cNvPr id="7" name="Subtitle 3">
            <a:extLst>
              <a:ext uri="{FF2B5EF4-FFF2-40B4-BE49-F238E27FC236}">
                <a16:creationId xmlns:a16="http://schemas.microsoft.com/office/drawing/2014/main" id="{9CAA1BA3-D079-6DA7-65CB-51062A7D93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FFEB8AD-256D-84E9-5A93-EB95B92E4B9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28D69DFE-88C2-F477-D6FA-5A27957CC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E86E6D92-7C0F-2881-3B5C-2BB90CF3E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Logo 1">
            <a:extLst>
              <a:ext uri="{FF2B5EF4-FFF2-40B4-BE49-F238E27FC236}">
                <a16:creationId xmlns:a16="http://schemas.microsoft.com/office/drawing/2014/main" id="{4111ED6B-3C57-9282-107F-83D63C6C1A1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69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 2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4 (with </a:t>
            </a:r>
            <a:r>
              <a:rPr lang="pl-PL"/>
              <a:t>light </a:t>
            </a:r>
            <a:r>
              <a:rPr lang="en-US"/>
              <a:t>picture)</a:t>
            </a:r>
          </a:p>
        </p:txBody>
      </p:sp>
      <p:sp>
        <p:nvSpPr>
          <p:cNvPr id="7" name="Subtitle 4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 1">
            <a:extLst>
              <a:ext uri="{FF2B5EF4-FFF2-40B4-BE49-F238E27FC236}">
                <a16:creationId xmlns:a16="http://schemas.microsoft.com/office/drawing/2014/main" id="{E5261410-F79F-DD2A-279D-B1AA1CDB174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81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 1">
            <a:extLst>
              <a:ext uri="{FF2B5EF4-FFF2-40B4-BE49-F238E27FC236}">
                <a16:creationId xmlns:a16="http://schemas.microsoft.com/office/drawing/2014/main" id="{5AD027A1-F5B6-22EB-1410-56C7B52891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  <p:pic>
        <p:nvPicPr>
          <p:cNvPr id="13" name="Picture Element 2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4 (with dark picture)</a:t>
            </a:r>
          </a:p>
        </p:txBody>
      </p:sp>
      <p:sp>
        <p:nvSpPr>
          <p:cNvPr id="7" name="Subtitle 4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15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285DB-111F-371C-CCBA-1DD3F3E0D33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8A4F95-E980-ECB5-112F-5B4A2D0D770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214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 with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38" y="1178790"/>
            <a:ext cx="9144000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5 (with picture)</a:t>
            </a:r>
          </a:p>
        </p:txBody>
      </p:sp>
      <p:sp>
        <p:nvSpPr>
          <p:cNvPr id="5" name="Subtitle 3">
            <a:extLst>
              <a:ext uri="{FF2B5EF4-FFF2-40B4-BE49-F238E27FC236}">
                <a16:creationId xmlns:a16="http://schemas.microsoft.com/office/drawing/2014/main" id="{A1730018-7DE4-8985-2868-18B01444A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55099" y="2887955"/>
            <a:ext cx="2485505" cy="10268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 maximum three lin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0BD8F41-4872-8861-CBF3-EDAA068B0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5098" y="3924300"/>
            <a:ext cx="24855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3BD4F32D-3591-565F-ADF6-7D7D28EF243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2974206"/>
            <a:ext cx="9206753" cy="3883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585DF01E-4205-00B8-31D5-62F133D64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5097" y="6155690"/>
            <a:ext cx="1834441" cy="45062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3A8DF9B4-8078-C49B-C422-13DD4F863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Logo 1">
            <a:extLst>
              <a:ext uri="{FF2B5EF4-FFF2-40B4-BE49-F238E27FC236}">
                <a16:creationId xmlns:a16="http://schemas.microsoft.com/office/drawing/2014/main" id="{7F270277-25AA-AF38-3D99-BB5D722E160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7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6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Element image 1" descr="A black and white rectangle with a green and black rectangle&#10;&#10;AI-generated content may be incorrect.">
            <a:extLst>
              <a:ext uri="{FF2B5EF4-FFF2-40B4-BE49-F238E27FC236}">
                <a16:creationId xmlns:a16="http://schemas.microsoft.com/office/drawing/2014/main" id="{557B342C-B686-916C-8D1E-533F53E2C2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912" y="1127322"/>
            <a:ext cx="4465637" cy="2951480"/>
          </a:xfrm>
        </p:spPr>
        <p:txBody>
          <a:bodyPr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6 </a:t>
            </a:r>
            <a:br>
              <a:rPr lang="en-US"/>
            </a:br>
            <a:r>
              <a:rPr lang="en-US"/>
              <a:t>(with picture)</a:t>
            </a:r>
          </a:p>
        </p:txBody>
      </p:sp>
      <p:sp>
        <p:nvSpPr>
          <p:cNvPr id="22" name="Subtitle 4">
            <a:extLst>
              <a:ext uri="{FF2B5EF4-FFF2-40B4-BE49-F238E27FC236}">
                <a16:creationId xmlns:a16="http://schemas.microsoft.com/office/drawing/2014/main" id="{B4B6A315-F84A-43CB-2612-0093AD26A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650" y="4101316"/>
            <a:ext cx="4465638" cy="680234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br>
              <a:rPr lang="en-US"/>
            </a:br>
            <a:r>
              <a:rPr lang="en-US"/>
              <a:t>over 2 lines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1E6999B2-BD34-3D8A-995A-23314865E5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7" y="4838706"/>
            <a:ext cx="4465637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20" name="Footer Placeholder 6">
            <a:extLst>
              <a:ext uri="{FF2B5EF4-FFF2-40B4-BE49-F238E27FC236}">
                <a16:creationId xmlns:a16="http://schemas.microsoft.com/office/drawing/2014/main" id="{90E4737B-80BB-A453-9EC0-40344848478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21" name="Slide Number Placeholder 7">
            <a:extLst>
              <a:ext uri="{FF2B5EF4-FFF2-40B4-BE49-F238E27FC236}">
                <a16:creationId xmlns:a16="http://schemas.microsoft.com/office/drawing/2014/main" id="{A6F5877F-D5C2-0CC0-F815-A40F949BFE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 1">
            <a:extLst>
              <a:ext uri="{FF2B5EF4-FFF2-40B4-BE49-F238E27FC236}">
                <a16:creationId xmlns:a16="http://schemas.microsoft.com/office/drawing/2014/main" id="{D5B7DC08-45F1-7AED-7412-10AE0482C44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212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718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2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6C1509-153F-BD27-73E3-F87006A3E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318031-32A0-57F5-89E3-BD97D3EE4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87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3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23C35D8-793D-910E-958E-12734E943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B0ABB62-7FB2-A10A-FB79-640977444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89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lement Image 1">
            <a:extLst>
              <a:ext uri="{FF2B5EF4-FFF2-40B4-BE49-F238E27FC236}">
                <a16:creationId xmlns:a16="http://schemas.microsoft.com/office/drawing/2014/main" id="{1A711596-B981-E895-2147-80AF02FC6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96" t="654" r="1416" b="120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951F0D95-92C8-F614-A840-CCF636DDB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5" y="393193"/>
            <a:ext cx="11433977" cy="946080"/>
          </a:xfrm>
        </p:spPr>
        <p:txBody>
          <a:bodyPr lIns="0" tIns="0" rIns="91440" bIns="0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Divider 4 (with picture)</a:t>
            </a:r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6D7B23CD-0964-2C4F-2645-F616DF81D0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1C3AD242-1EDC-575F-5C91-FD24DABDD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1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165860"/>
            <a:ext cx="11404800" cy="5097600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6B6C3F6-7864-1614-6433-B6E9205341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AA371ED-2734-3586-C69F-E31DDE6FB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07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5D62CB2E-81D7-48A5-A15B-340BF48D2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B4268E2A-81AF-75F2-036F-19A286FA83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308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13726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28B93E-9AAB-D047-1D10-C52AC4536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bIns="0" anchor="t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95F41DF-93F3-CDC9-2F09-5645DCF4B1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8B383B-1E87-87BA-8652-6B7B1E2F64D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88B1FDE8-1311-7248-18A8-D4800084C2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8A4E9F6-3410-0A4E-80C1-A550B6D95A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18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6B5E63-2A42-E758-4078-93602512C4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BBC2BF-0D27-EE97-15E2-3172489A9E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E1F0C114-EFF4-4AC2-300D-DD8958809D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B155FBF-4BEC-C1E1-CB2C-2ED0CF71CC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15D01BB8-727D-8CA2-AA4D-A23CC782B59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1733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lIns="0" tIns="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9" name="Heading 3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2" y="1526183"/>
            <a:ext cx="11433977" cy="369486"/>
          </a:xfrm>
          <a:prstGeom prst="rect">
            <a:avLst/>
          </a:prstGeom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094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4243D16-78B0-BF7E-7EE9-B51138BA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8"/>
          </p:nvPr>
        </p:nvSpPr>
        <p:spPr>
          <a:xfrm>
            <a:off x="6260021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7BAE68A-27A7-6C3D-4142-7F3922D49B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9444F98-C525-C008-1B46-B4DCF8808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81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7"/>
            <a:ext cx="5523992" cy="4729841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857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683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8" cy="369486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8312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8312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27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Heading 2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3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Heading 4"/>
          <p:cNvSpPr>
            <a:spLocks noGrp="1"/>
          </p:cNvSpPr>
          <p:nvPr>
            <p:ph type="body" sz="quarter" idx="21" hasCustomPrompt="1"/>
          </p:nvPr>
        </p:nvSpPr>
        <p:spPr>
          <a:xfrm>
            <a:off x="6260399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rgbClr val="292D3A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5"/>
          <p:cNvSpPr>
            <a:spLocks noGrp="1"/>
          </p:cNvSpPr>
          <p:nvPr>
            <p:ph sz="quarter" idx="20"/>
          </p:nvPr>
        </p:nvSpPr>
        <p:spPr>
          <a:xfrm>
            <a:off x="6260021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6A21F8B9-A226-C863-E39B-92687650DA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C22C88C5-7051-4300-5EDA-B8F76B6C39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901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9" name="Heading 3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5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0021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Content Placeholder 6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9074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1902BBC2-BD44-DEAF-58E4-737CC53BBBD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38DD5D5E-5ECA-A659-E4D1-059428798A6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226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18"/>
          </p:nvPr>
        </p:nvSpPr>
        <p:spPr>
          <a:xfrm>
            <a:off x="4268787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9"/>
          </p:nvPr>
        </p:nvSpPr>
        <p:spPr>
          <a:xfrm>
            <a:off x="8152474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107EAFD6-415C-88F0-6EE5-4D5D4B8A95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D781A8C7-DBC3-6CA7-393A-B76EB01BD15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15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 anchorCtr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B5786B1-1D78-07AE-99E2-9ACA6A302D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C5CFBF7C-9A9D-283B-3040-62F4E8BBA2B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CE933D73-FF2E-5038-2928-57B052E6DEC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CE1CB3F7-BD80-2E75-509D-9F8010556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9199F5B5-25C5-2F5D-8947-057651169F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3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715285DB-111F-371C-CCBA-1DD3F3E0D33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B08A4F95-E980-ECB5-112F-5B4A2D0D770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14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186492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276344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3" y="393192"/>
            <a:ext cx="11442627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9555D4-44D6-AEAB-C73E-7D5E09D78D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DBD838-E55E-389E-324E-987E3489B3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5D01BB8-727D-8CA2-AA4D-A23CC782B59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4B155FBF-4BEC-C1E1-CB2C-2ED0CF71CC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E1F0C114-EFF4-4AC2-300D-DD8958809D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B06B5E63-2A42-E758-4078-93602512C4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73BBC2BF-0D27-EE97-15E2-3172489A9E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459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3" y="393192"/>
            <a:ext cx="11442627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Heading 2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4"/>
          <p:cNvSpPr>
            <a:spLocks noGrp="1"/>
          </p:cNvSpPr>
          <p:nvPr>
            <p:ph type="body" sz="quarter" idx="23" hasCustomPrompt="1"/>
          </p:nvPr>
        </p:nvSpPr>
        <p:spPr>
          <a:xfrm>
            <a:off x="4276344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Content Placeholder 5"/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6"/>
          <p:cNvSpPr>
            <a:spLocks noGrp="1"/>
          </p:cNvSpPr>
          <p:nvPr>
            <p:ph type="body" sz="quarter" idx="21" hasCustomPrompt="1"/>
          </p:nvPr>
        </p:nvSpPr>
        <p:spPr>
          <a:xfrm>
            <a:off x="8186492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6" name="Content Placeholder 7"/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8">
            <a:extLst>
              <a:ext uri="{FF2B5EF4-FFF2-40B4-BE49-F238E27FC236}">
                <a16:creationId xmlns:a16="http://schemas.microsoft.com/office/drawing/2014/main" id="{DF9555D4-44D6-AEAB-C73E-7D5E09D78D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90DBD838-E55E-389E-324E-987E3489B3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673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9" name="Heading 3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1" name="Content Placeholder 4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5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5611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7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6122" y="1499259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9">
            <a:extLst>
              <a:ext uri="{FF2B5EF4-FFF2-40B4-BE49-F238E27FC236}">
                <a16:creationId xmlns:a16="http://schemas.microsoft.com/office/drawing/2014/main" id="{53F4A635-D29C-5A5D-714B-00FFBC1127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83E2F088-5C0B-D552-5583-1D142B559A9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2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0F9A92-64E5-9B39-37FB-32E33BE347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7C1C6913-628D-910F-538E-B2627BE58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427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5366A10F-E470-2340-640E-A14F8662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B75F6F1F-DB9C-06A9-C184-CF5F49CEF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51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4FA5188-3004-E27B-6C13-6CEBF1DE5A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73A4466B-6230-7EB6-5A32-83ABCAD0DC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983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vert="horz" lIns="0" tIns="0" rIns="0" bIns="4572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0EC1AB-5084-D572-D008-65E0904E99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AFB48-7218-4A49-8C9C-891144C153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864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94255" y="999540"/>
            <a:ext cx="3479038" cy="5100531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377B5-1282-FF1A-9E56-8C043D9FCD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3186F-3885-5DE5-8FA5-6CD9D9747D4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35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1475"/>
            <a:ext cx="5564990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9023" y="4131540"/>
            <a:ext cx="5564990" cy="2034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DF64BF61-1E66-23EC-73D9-9D4373CF4EF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7F4CAAFC-7C73-8B7A-5AEF-933F0A6EB31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280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540000" indent="0">
              <a:buNone/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2908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0912" y="4184650"/>
            <a:ext cx="3684405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8">
            <a:extLst>
              <a:ext uri="{FF2B5EF4-FFF2-40B4-BE49-F238E27FC236}">
                <a16:creationId xmlns:a16="http://schemas.microsoft.com/office/drawing/2014/main" id="{B7CE0358-7593-FDA7-B0FB-FF0EC1E320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C087F768-80AD-E284-7CB0-AA45A8DB30A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5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6122" y="1499259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5611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4A635-D29C-5A5D-714B-00FFBC1127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E2F088-5C0B-D552-5583-1D142B559A9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60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B045ACD-D682-9F85-8976-3DE690571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rgbClr val="292D3A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4905" y="1541418"/>
            <a:ext cx="3393532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3"/>
          </p:nvPr>
        </p:nvSpPr>
        <p:spPr>
          <a:xfrm>
            <a:off x="4100945" y="1533798"/>
            <a:ext cx="7707937" cy="4737462"/>
          </a:xfrm>
          <a:prstGeom prst="rect">
            <a:avLst/>
          </a:prstGeom>
        </p:spPr>
        <p:txBody>
          <a:bodyPr lIns="0" tIns="45720" rIns="0" bIns="45720" anchor="ctr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C3246-51E8-2C6D-91C1-DC5E683C7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A66BA11A-FF4F-0B31-22B7-B062F5B3F9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694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 and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3462615" cy="8412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Title and</a:t>
            </a:r>
            <a:br>
              <a:rPr lang="pl-PL"/>
            </a:br>
            <a:r>
              <a:rPr lang="pl-PL"/>
              <a:t>c</a:t>
            </a:r>
            <a:r>
              <a:rPr lang="en-US" err="1"/>
              <a:t>ontent</a:t>
            </a:r>
            <a:r>
              <a:rPr lang="pl-PL"/>
              <a:t> only</a:t>
            </a:r>
            <a:endParaRPr 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9192AB6B-CCDC-C9ED-9B4D-B9B1DAE2F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905" y="1541418"/>
            <a:ext cx="3462614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/>
          </p:nvPr>
        </p:nvSpPr>
        <p:spPr>
          <a:xfrm>
            <a:off x="4210050" y="0"/>
            <a:ext cx="79819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Number Text Placeholder 4">
            <a:extLst>
              <a:ext uri="{FF2B5EF4-FFF2-40B4-BE49-F238E27FC236}">
                <a16:creationId xmlns:a16="http://schemas.microsoft.com/office/drawing/2014/main" id="{C8956EBD-8393-95D1-85FB-895F28E85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prstGeom prst="rect">
            <a:avLst/>
          </a:prstGeom>
          <a:gradFill flip="none" rotWithShape="1">
            <a:gsLst>
              <a:gs pos="14000">
                <a:srgbClr val="05CC93"/>
              </a:gs>
              <a:gs pos="39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65D24DA-8A81-CB0A-0EE3-30119C813D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86788" y="5251730"/>
            <a:ext cx="3230307" cy="88538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5C2101BA-46FD-36C0-99F1-408C742C97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32D4E478-B9A3-DF0A-2BC5-A31D39827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052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BED57-19AD-707F-6DA8-8B468453C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0136B64A-A8CA-B4F8-1ED1-53DA9C290E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403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065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D56B6084-0FE4-4048-3583-741AE0C95AE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1FA49D1-EA5E-4BDC-03EF-986C3CB3B92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73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8C0B22-3DC2-E652-E265-9A67A96AF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21BA14BF-4CB3-F25B-80B2-5B579ED38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DC303F11-128A-0352-F6B9-03E0CB827C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01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615"/>
            <a:ext cx="9416520" cy="2306296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4FC89-98CE-BBFA-D898-76DCDE986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0742BF92-646B-24E1-901E-D19598CBBE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39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2CDC00-5B37-BE1C-550C-F0774AF95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5D7AC752-1063-D945-4038-6C1905F0C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BD784A7-2DD7-80EE-047F-D63021A326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814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4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AC085-14E9-0648-9F2A-D3AD872D97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2FCAEB46-BF54-E6AC-203B-DC671344E5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718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650"/>
            <a:ext cx="4062159" cy="3553883"/>
          </a:xfrm>
        </p:spPr>
        <p:txBody>
          <a:bodyPr anchor="t"/>
          <a:lstStyle>
            <a:lvl1pPr>
              <a:lnSpc>
                <a:spcPct val="90000"/>
              </a:lnSpc>
              <a:defRPr sz="4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58DE96-548B-9145-85BC-5AF5D72537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33DAEC1C-FBEC-C5AF-4FAC-F67E7EBEF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619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0F9A92-64E5-9B39-37FB-32E33BE347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1C6913-628D-910F-538E-B2627BE58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441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6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9"/>
            <a:ext cx="5676900" cy="3747262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714F5D-2F9A-82E8-FC18-7CB2687548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A51A1E7-04E9-D26E-A5C3-735AE6D39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87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74903" y="2449576"/>
            <a:ext cx="8188525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endParaRPr lang="en-US"/>
          </a:p>
        </p:txBody>
      </p:sp>
      <p:sp>
        <p:nvSpPr>
          <p:cNvPr id="17" name="Speaker Information 2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83433" y="3392391"/>
            <a:ext cx="8188525" cy="8763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8F29566-5470-D3D8-0F61-D70F81B7E5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1680853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 1" descr="A green and grey gradient&#10;&#10;AI-generated content may be incorrect.">
            <a:extLst>
              <a:ext uri="{FF2B5EF4-FFF2-40B4-BE49-F238E27FC236}">
                <a16:creationId xmlns:a16="http://schemas.microsoft.com/office/drawing/2014/main" id="{DE9F31A4-7BA9-4409-0FF0-FF9FD06F3D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339"/>
            <a:ext cx="10819505" cy="41148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</a:t>
            </a:r>
            <a:r>
              <a:rPr lang="pl-PL"/>
              <a:t>light</a:t>
            </a:r>
            <a:r>
              <a:rPr lang="en-US"/>
              <a:t> picture)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2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97370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 1" descr="A green and grey gradient&#10;&#10;AI-generated content may be incorrect.">
            <a:extLst>
              <a:ext uri="{FF2B5EF4-FFF2-40B4-BE49-F238E27FC236}">
                <a16:creationId xmlns:a16="http://schemas.microsoft.com/office/drawing/2014/main" id="{547D85B3-8CD9-9846-DB0A-12364143C2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5000"/>
          </a:blip>
          <a:stretch>
            <a:fillRect/>
          </a:stretch>
        </p:blipFill>
        <p:spPr>
          <a:xfrm>
            <a:off x="0" y="1371600"/>
            <a:ext cx="10819505" cy="41148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dark picture)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3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8116B25-28AD-427B-1033-715BCFEF17E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0183FCC9-DD19-ACEA-AAB1-9D15104F9E8D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120640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7" name="Date 4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4E6A0C1C-FFFA-74C0-3719-4E6EA4C7BF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7FCAEB09-CC92-C4AF-AFC7-84F7B4C83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Logo 1">
            <a:extLst>
              <a:ext uri="{FF2B5EF4-FFF2-40B4-BE49-F238E27FC236}">
                <a16:creationId xmlns:a16="http://schemas.microsoft.com/office/drawing/2014/main" id="{B83773F4-6A59-C5D0-F783-BCC7C49F16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905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 1">
            <a:extLst>
              <a:ext uri="{FF2B5EF4-FFF2-40B4-BE49-F238E27FC236}">
                <a16:creationId xmlns:a16="http://schemas.microsoft.com/office/drawing/2014/main" id="{7E04AA86-3390-5E05-F138-33B691BA0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  <p:sp>
        <p:nvSpPr>
          <p:cNvPr id="15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0" bIns="91440"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6" name="Subtitle 3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7" name="Date 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DDA1A1B8-63A0-5FF8-D94D-A64DF0037B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6F51E08A-0EC1-9757-9EC4-3B8B8A2FC0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401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2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292D3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9" name="Date 4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292D3A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737513D-A3AB-F0E4-0CD1-28BE5E7621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32D4E66E-34EA-3AC2-4F5C-196138F8CF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 1">
            <a:extLst>
              <a:ext uri="{FF2B5EF4-FFF2-40B4-BE49-F238E27FC236}">
                <a16:creationId xmlns:a16="http://schemas.microsoft.com/office/drawing/2014/main" id="{9C5792F6-D0E2-FD37-29B6-8768B21D3F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094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8">
            <a:extLst>
              <a:ext uri="{FF2B5EF4-FFF2-40B4-BE49-F238E27FC236}">
                <a16:creationId xmlns:a16="http://schemas.microsoft.com/office/drawing/2014/main" id="{BFE461D8-0641-727D-F822-B1556D372F2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CFDC7940-ECD3-9B40-E568-B47ABAFA6A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51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398" y="1386402"/>
            <a:ext cx="7518482" cy="4085196"/>
          </a:xfrm>
        </p:spPr>
        <p:txBody>
          <a:bodyPr lIns="91440" anchor="ctr" anchorCtr="0"/>
          <a:lstStyle>
            <a:lvl1pPr marL="219456" indent="-219456">
              <a:defRPr sz="4000" b="0" cap="none" baseline="0">
                <a:latin typeface="HPE Graphik Light" pitchFamily="50" charset="0"/>
                <a:cs typeface="HPE Graphik Light" pitchFamily="50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5471598"/>
            <a:ext cx="8228011" cy="53340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2754E-094F-7C73-88B9-FF823BF830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CDFAF2-F03B-8CB9-A43F-2C8C54F552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94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BE2E1BB-CE0A-BA4E-62F3-C11C72B14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4EC4B5E-61C1-0327-AC26-FD6B85B7F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6E81DF5-9D1C-2874-F10C-40090BD53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DEE9B376-05EC-3588-37E2-05C039D1F6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061C036-93AE-3BAB-6526-8E33EA4444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702D808-AF03-DEF9-0314-E4335A543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97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8D69DFE-88C2-F477-D6FA-5A27957CC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6E6D92-7C0F-2881-3B5C-2BB90CF3E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6047C21-8C30-FF57-32D9-77CA97A796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9CAA1BA3-D079-6DA7-65CB-51062A7D93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FFEB8AD-256D-84E9-5A93-EB95B92E4B9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2247A9-BAB1-E44F-778D-D7B252E624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554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66A10F-E470-2340-640E-A14F8662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5F6F1F-DB9C-06A9-C184-CF5F49CEF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57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C7E62B9-7B57-1325-41F8-B563932F3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D4869DF-7C8C-6D6D-CBDF-4F57DD5DF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FBDD54F-6F02-5565-BE03-576E378CDA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C9B879B3-45C8-291E-B795-79029A3CF9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199A56CF-9478-6AE1-8265-95E8C72FD0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A8CED90-83F5-DFF6-245A-6CD299701B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498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8D69DFE-88C2-F477-D6FA-5A27957CC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6E6D92-7C0F-2881-3B5C-2BB90CF3E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6047C21-8C30-FF57-32D9-77CA97A796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9CAA1BA3-D079-6DA7-65CB-51062A7D93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FFEB8AD-256D-84E9-5A93-EB95B92E4B9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2247A9-BAB1-E44F-778D-D7B252E624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47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4 (with </a:t>
            </a:r>
            <a:r>
              <a:rPr lang="pl-PL"/>
              <a:t>light </a:t>
            </a:r>
            <a:r>
              <a:rPr lang="en-US"/>
              <a:t>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E8EFE5D-1C0B-203B-2788-D4F44A09CA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03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4 (with dark 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5AD027A1-F5B6-22EB-1410-56C7B52891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65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 with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BD4F32D-3591-565F-ADF6-7D7D28EF243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2974206"/>
            <a:ext cx="9206753" cy="3883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38" y="1178790"/>
            <a:ext cx="9144000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5 (with picture)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1730018-7DE4-8985-2868-18B01444A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55099" y="2887955"/>
            <a:ext cx="2485505" cy="10268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 maximum three lin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BD8F41-4872-8861-CBF3-EDAA068B0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5098" y="3924300"/>
            <a:ext cx="24855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85DF01E-4205-00B8-31D5-62F133D64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5097" y="6155690"/>
            <a:ext cx="1834441" cy="45062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8DF9B4-8078-C49B-C422-13DD4F863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4DA0103-EE8D-10C5-8FF2-02FCBAFCB9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556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6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Element image" descr="A black and white rectangle with a green and black rectangle&#10;&#10;AI-generated content may be incorrect.">
            <a:extLst>
              <a:ext uri="{FF2B5EF4-FFF2-40B4-BE49-F238E27FC236}">
                <a16:creationId xmlns:a16="http://schemas.microsoft.com/office/drawing/2014/main" id="{557B342C-B686-916C-8D1E-533F53E2C2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912" y="1127322"/>
            <a:ext cx="4465637" cy="2951480"/>
          </a:xfrm>
        </p:spPr>
        <p:txBody>
          <a:bodyPr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6 </a:t>
            </a:r>
            <a:br>
              <a:rPr lang="en-US"/>
            </a:br>
            <a:r>
              <a:rPr lang="en-US"/>
              <a:t>(with picture)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90E4737B-80BB-A453-9EC0-40344848478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A6F5877F-D5C2-0CC0-F815-A40F949BFE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B4B6A315-F84A-43CB-2612-0093AD26A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650" y="4101316"/>
            <a:ext cx="4465638" cy="680234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br>
              <a:rPr lang="en-US"/>
            </a:br>
            <a:r>
              <a:rPr lang="en-US"/>
              <a:t>over 2 lines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E6999B2-BD34-3D8A-995A-23314865E5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7" y="4838706"/>
            <a:ext cx="4465637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pic>
        <p:nvPicPr>
          <p:cNvPr id="12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60D540B-8356-03C5-A3D0-DD92935A31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52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0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2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86C1509-153F-BD27-73E3-F87006A3E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3318031-32A0-57F5-89E3-BD97D3EE4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568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3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3C35D8-793D-910E-958E-12734E943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ABB62-7FB2-A10A-FB79-640977444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430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lement Image">
            <a:extLst>
              <a:ext uri="{FF2B5EF4-FFF2-40B4-BE49-F238E27FC236}">
                <a16:creationId xmlns:a16="http://schemas.microsoft.com/office/drawing/2014/main" id="{1A711596-B981-E895-2147-80AF02FC6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96" t="654" r="1416" b="120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51F0D95-92C8-F614-A840-CCF636DDB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5" y="393193"/>
            <a:ext cx="11433977" cy="946080"/>
          </a:xfrm>
        </p:spPr>
        <p:txBody>
          <a:bodyPr lIns="0" tIns="0" rIns="91440" bIns="0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Divider 4 (with picture)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D7B23CD-0964-2C4F-2645-F616DF81D0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C3AD242-1EDC-575F-5C91-FD24DABDD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473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A5188-3004-E27B-6C13-6CEBF1DE5A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A4466B-6230-7EB6-5A32-83ABCAD0DC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78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165860"/>
            <a:ext cx="11404800" cy="5097600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B6C3F6-7864-1614-6433-B6E9205341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A371ED-2734-3586-C69F-E31DDE6FB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85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42628" cy="775846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62CB2E-81D7-48A5-A15B-340BF48D2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268E2A-81AF-75F2-036F-19A286FA83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37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004365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95F41DF-93F3-CDC9-2F09-5645DCF4B1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B1FDE8-1311-7248-18A8-D4800084C2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A4E9F6-3410-0A4E-80C1-A550B6D95A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8228B93E-9AAB-D047-1D10-C52AC4536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bIns="0" anchor="t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Content Placeholder">
            <a:extLst>
              <a:ext uri="{FF2B5EF4-FFF2-40B4-BE49-F238E27FC236}">
                <a16:creationId xmlns:a16="http://schemas.microsoft.com/office/drawing/2014/main" id="{AA8B383B-1E87-87BA-8652-6B7B1E2F64D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50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3" y="1526183"/>
            <a:ext cx="11347170" cy="369486"/>
          </a:xfrm>
          <a:prstGeom prst="rect">
            <a:avLst/>
          </a:prstGeom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lIns="0" tIns="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412358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BAE68A-27A7-6C3D-4142-7F3922D49B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444F98-C525-C008-1B46-B4DCF8808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243D16-78B0-BF7E-7EE9-B51138BA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598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7"/>
            <a:ext cx="5523992" cy="4729841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75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26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8312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8312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83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3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60021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399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rgbClr val="292D3A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1F8B9-A226-C863-E39B-92687650DA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2C88C5-7051-4300-5EDA-B8F76B6C39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17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vert="horz" lIns="0" tIns="0" rIns="0" bIns="4572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0EC1AB-5084-D572-D008-65E0904E99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AFB48-7218-4A49-8C9C-891144C153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791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9074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0021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02BBC2-BD44-DEAF-58E4-737CC53BBBD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DD5D5E-5ECA-A659-E4D1-059428798A6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021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7EAFD6-415C-88F0-6EE5-4D5D4B8A95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81A8C7-DBC3-6CA7-393A-B76EB01BD15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931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 anchorCtr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1CB3F7-BD80-2E75-509D-9F8010556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99F5B5-25C5-2F5D-8947-057651169F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E933D73-FF2E-5038-2928-57B052E6DEC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5CFBF7C-9A9D-283B-3040-62F4E8BBA2B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B5786B1-1D78-07AE-99E2-9ACA6A302D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2763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285DB-111F-371C-CCBA-1DD3F3E0D33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8A4F95-E980-ECB5-112F-5B4A2D0D770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36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6B5E63-2A42-E758-4078-93602512C4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BBC2BF-0D27-EE97-15E2-3172489A9E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E1F0C114-EFF4-4AC2-300D-DD8958809D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B155FBF-4BEC-C1E1-CB2C-2ED0CF71CC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15D01BB8-727D-8CA2-AA4D-A23CC782B59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3463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186492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276344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3" y="393192"/>
            <a:ext cx="11442627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9555D4-44D6-AEAB-C73E-7D5E09D78D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DBD838-E55E-389E-324E-987E3489B3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963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6122" y="1499259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5611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4A635-D29C-5A5D-714B-00FFBC1127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E2F088-5C0B-D552-5583-1D142B559A9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92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0F9A92-64E5-9B39-37FB-32E33BE347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1C6913-628D-910F-538E-B2627BE58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82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66A10F-E470-2340-640E-A14F8662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5F6F1F-DB9C-06A9-C184-CF5F49CEF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877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A5188-3004-E27B-6C13-6CEBF1DE5A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A4466B-6230-7EB6-5A32-83ABCAD0DC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14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94255" y="999540"/>
            <a:ext cx="3479038" cy="5100531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377B5-1282-FF1A-9E56-8C043D9FCD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3186F-3885-5DE5-8FA5-6CD9D9747D4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28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vert="horz" lIns="0" tIns="0" rIns="0" bIns="4572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0EC1AB-5084-D572-D008-65E0904E99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AFB48-7218-4A49-8C9C-891144C153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751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94255" y="999540"/>
            <a:ext cx="3479038" cy="5100531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377B5-1282-FF1A-9E56-8C043D9FCD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3186F-3885-5DE5-8FA5-6CD9D9747D4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4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9023" y="4131540"/>
            <a:ext cx="5564990" cy="2034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1475"/>
            <a:ext cx="5564990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64BF61-1E66-23EC-73D9-9D4373CF4EF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CAAFC-7C73-8B7A-5AEF-933F0A6EB31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68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0912" y="4184650"/>
            <a:ext cx="3684405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2908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540000" indent="0">
              <a:buNone/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E0358-7593-FDA7-B0FB-FF0EC1E320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87F768-80AD-E284-7CB0-AA45A8DB30A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09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100945" y="1533798"/>
            <a:ext cx="7707937" cy="4737462"/>
          </a:xfrm>
          <a:prstGeom prst="rect">
            <a:avLst/>
          </a:prstGeom>
        </p:spPr>
        <p:txBody>
          <a:bodyPr lIns="0" tIns="45720" rIns="0" bIns="45720" anchor="ctr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374905" y="1541418"/>
            <a:ext cx="3393532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Add multi-Line Tit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7B045ACD-D682-9F85-8976-3DE690571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rgbClr val="292D3A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C3246-51E8-2C6D-91C1-DC5E683C7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66BA11A-FF4F-0B31-22B7-B062F5B3F9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074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 and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/>
          </p:nvPr>
        </p:nvSpPr>
        <p:spPr>
          <a:xfrm>
            <a:off x="4210050" y="0"/>
            <a:ext cx="79819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Number Text Placeholder 13">
            <a:extLst>
              <a:ext uri="{FF2B5EF4-FFF2-40B4-BE49-F238E27FC236}">
                <a16:creationId xmlns:a16="http://schemas.microsoft.com/office/drawing/2014/main" id="{C8956EBD-8393-95D1-85FB-895F28E85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prstGeom prst="rect">
            <a:avLst/>
          </a:prstGeom>
          <a:gradFill flip="none" rotWithShape="1">
            <a:gsLst>
              <a:gs pos="14000">
                <a:srgbClr val="05CC93"/>
              </a:gs>
              <a:gs pos="39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3462615" cy="8412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Title only and </a:t>
            </a:r>
            <a:r>
              <a:rPr lang="en-US"/>
              <a:t>Conten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FA01E04-C64C-CB22-532A-A4E1A8B4F2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2101BA-46FD-36C0-99F1-408C742C97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D4E478-B9A3-DF0A-2BC5-A31D39827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9192AB6B-CCDC-C9ED-9B4D-B9B1DAE2F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905" y="1541418"/>
            <a:ext cx="3462614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a Text Placeholder">
            <a:extLst>
              <a:ext uri="{FF2B5EF4-FFF2-40B4-BE49-F238E27FC236}">
                <a16:creationId xmlns:a16="http://schemas.microsoft.com/office/drawing/2014/main" id="{F65D24DA-8A81-CB0A-0EE3-30119C813D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86788" y="5251730"/>
            <a:ext cx="3230307" cy="88538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46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BED57-19AD-707F-6DA8-8B468453C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36B64A-A8CA-B4F8-1ED1-53DA9C290E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662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2708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6B6084-0FE4-4048-3583-741AE0C95AE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FA49D1-EA5E-4BDC-03EF-986C3CB3B92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4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8C0B22-3DC2-E652-E265-9A67A96AF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BA14BF-4CB3-F25B-80B2-5B579ED38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303F11-128A-0352-F6B9-03E0CB827C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726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9023" y="4131540"/>
            <a:ext cx="5564990" cy="2034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1475"/>
            <a:ext cx="5564990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64BF61-1E66-23EC-73D9-9D4373CF4EF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CAAFC-7C73-8B7A-5AEF-933F0A6EB31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19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615"/>
            <a:ext cx="9416520" cy="2306296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4FC89-98CE-BBFA-D898-76DCDE986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42BF92-646B-24E1-901E-D19598CBBE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569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2CDC00-5B37-BE1C-550C-F0774AF95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7AC752-1063-D945-4038-6C1905F0C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D784A7-2DD7-80EE-047F-D63021A326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020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4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AC085-14E9-0648-9F2A-D3AD872D97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CAEB46-BF54-E6AC-203B-DC671344E5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25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650"/>
            <a:ext cx="4062159" cy="3553883"/>
          </a:xfrm>
        </p:spPr>
        <p:txBody>
          <a:bodyPr anchor="t"/>
          <a:lstStyle>
            <a:lvl1pPr>
              <a:lnSpc>
                <a:spcPct val="90000"/>
              </a:lnSpc>
              <a:defRPr sz="4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58DE96-548B-9145-85BC-5AF5D72537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DAEC1C-FBEC-C5AF-4FAC-F67E7EBEF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8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6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9"/>
            <a:ext cx="5676900" cy="3747262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714F5D-2F9A-82E8-FC18-7CB2687548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51A1E7-04E9-D26E-A5C3-735AE6D39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772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peaker contact information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83433" y="3392391"/>
            <a:ext cx="8188525" cy="8763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74903" y="2449576"/>
            <a:ext cx="8188525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F29566-5470-D3D8-0F61-D70F81B7E5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50321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DE9F31A4-7BA9-4409-0FF0-FF9FD06F3D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339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2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</a:t>
            </a:r>
            <a:r>
              <a:rPr lang="pl-PL"/>
              <a:t>light</a:t>
            </a:r>
            <a:r>
              <a:rPr lang="en-US"/>
              <a:t> pictur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326770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547D85B3-8CD9-9846-DB0A-12364143C2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5000"/>
          </a:blip>
          <a:stretch>
            <a:fillRect/>
          </a:stretch>
        </p:blipFill>
        <p:spPr>
          <a:xfrm>
            <a:off x="0" y="1371600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3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dark pictur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83FCC9-DD19-ACEA-AAB1-9D15104F9E8D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48116B25-28AD-427B-1033-715BCFEF17E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26676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6A0C1C-FFFA-74C0-3719-4E6EA4C7BF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CAEB09-CC92-C4AF-AFC7-84F7B4C83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D3862E9-4343-21F9-03D0-319C0D76EE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695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0" bIns="91440"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DA1A1B8-63A0-5FF8-D94D-A64DF0037B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51E08A-0EC1-9757-9EC4-3B8B8A2FC0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04AA86-3390-5E05-F138-33B691BA0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22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0912" y="4184650"/>
            <a:ext cx="3684405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2908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540000" indent="0">
              <a:buNone/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E0358-7593-FDA7-B0FB-FF0EC1E320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87F768-80AD-E284-7CB0-AA45A8DB30A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32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292D3A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292D3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7513D-A3AB-F0E4-0CD1-28BE5E7621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D4E66E-34EA-3AC2-4F5C-196138F8CF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20F7DE3-5012-50D0-0EE0-FBB950E366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744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E461D8-0641-727D-F822-B1556D372F2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DC7940-ECD3-9B40-E568-B47ABAFA6A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94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5471598"/>
            <a:ext cx="8228011" cy="53340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1386402"/>
            <a:ext cx="7518482" cy="4085196"/>
          </a:xfrm>
        </p:spPr>
        <p:txBody>
          <a:bodyPr lIns="91440" anchor="ctr" anchorCtr="0"/>
          <a:lstStyle>
            <a:lvl1pPr marL="219456" indent="-219456">
              <a:defRPr sz="4000" b="0" cap="none" baseline="0">
                <a:latin typeface="HPE Graphik Light" pitchFamily="50" charset="0"/>
                <a:cs typeface="HPE Graphik Light" pitchFamily="50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2754E-094F-7C73-88B9-FF823BF830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CDFAF2-F03B-8CB9-A43F-2C8C54F552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2151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9709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100945" y="1533798"/>
            <a:ext cx="7707937" cy="4737462"/>
          </a:xfrm>
          <a:prstGeom prst="rect">
            <a:avLst/>
          </a:prstGeom>
        </p:spPr>
        <p:txBody>
          <a:bodyPr lIns="0" tIns="45720" rIns="0" bIns="45720" anchor="ctr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374905" y="1541418"/>
            <a:ext cx="3393532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Add multi-Line Tit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7B045ACD-D682-9F85-8976-3DE690571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rgbClr val="292D3A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C3246-51E8-2C6D-91C1-DC5E683C7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66BA11A-FF4F-0B31-22B7-B062F5B3F9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092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 and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/>
          </p:nvPr>
        </p:nvSpPr>
        <p:spPr>
          <a:xfrm>
            <a:off x="4210050" y="0"/>
            <a:ext cx="79819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Number Text Placeholder 13">
            <a:extLst>
              <a:ext uri="{FF2B5EF4-FFF2-40B4-BE49-F238E27FC236}">
                <a16:creationId xmlns:a16="http://schemas.microsoft.com/office/drawing/2014/main" id="{C8956EBD-8393-95D1-85FB-895F28E85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prstGeom prst="rect">
            <a:avLst/>
          </a:prstGeom>
          <a:gradFill flip="none" rotWithShape="1">
            <a:gsLst>
              <a:gs pos="14000">
                <a:srgbClr val="05CC93"/>
              </a:gs>
              <a:gs pos="39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3462615" cy="8412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Title only and </a:t>
            </a:r>
            <a:r>
              <a:rPr lang="en-US"/>
              <a:t>Conten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FA01E04-C64C-CB22-532A-A4E1A8B4F2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2101BA-46FD-36C0-99F1-408C742C97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D4E478-B9A3-DF0A-2BC5-A31D39827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9192AB6B-CCDC-C9ED-9B4D-B9B1DAE2F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905" y="1541418"/>
            <a:ext cx="3462614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a Text Placeholder">
            <a:extLst>
              <a:ext uri="{FF2B5EF4-FFF2-40B4-BE49-F238E27FC236}">
                <a16:creationId xmlns:a16="http://schemas.microsoft.com/office/drawing/2014/main" id="{F65D24DA-8A81-CB0A-0EE3-30119C813D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86788" y="5251730"/>
            <a:ext cx="3230307" cy="88538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566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BED57-19AD-707F-6DA8-8B468453C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36B64A-A8CA-B4F8-1ED1-53DA9C290E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412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596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4 (with </a:t>
            </a:r>
            <a:r>
              <a:rPr lang="pl-PL"/>
              <a:t>light </a:t>
            </a:r>
            <a:r>
              <a:rPr lang="en-US"/>
              <a:t>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E8EFE5D-1C0B-203B-2788-D4F44A09CA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89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6B6084-0FE4-4048-3583-741AE0C95AE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FA49D1-EA5E-4BDC-03EF-986C3CB3B92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535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8C0B22-3DC2-E652-E265-9A67A96AF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BA14BF-4CB3-F25B-80B2-5B579ED38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303F11-128A-0352-F6B9-03E0CB827C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158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615"/>
            <a:ext cx="9416520" cy="2306296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4FC89-98CE-BBFA-D898-76DCDE986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42BF92-646B-24E1-901E-D19598CBBE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467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2CDC00-5B37-BE1C-550C-F0774AF95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7AC752-1063-D945-4038-6C1905F0C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D784A7-2DD7-80EE-047F-D63021A326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52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4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AC085-14E9-0648-9F2A-D3AD872D97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CAEB46-BF54-E6AC-203B-DC671344E5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871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650"/>
            <a:ext cx="4062159" cy="3553883"/>
          </a:xfrm>
        </p:spPr>
        <p:txBody>
          <a:bodyPr anchor="t"/>
          <a:lstStyle>
            <a:lvl1pPr>
              <a:lnSpc>
                <a:spcPct val="90000"/>
              </a:lnSpc>
              <a:defRPr sz="4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58DE96-548B-9145-85BC-5AF5D72537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DAEC1C-FBEC-C5AF-4FAC-F67E7EBEF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52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6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9"/>
            <a:ext cx="5676900" cy="3747262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714F5D-2F9A-82E8-FC18-7CB2687548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51A1E7-04E9-D26E-A5C3-735AE6D39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238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peaker contact information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83433" y="3392391"/>
            <a:ext cx="8188525" cy="8763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74903" y="2449576"/>
            <a:ext cx="8188525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F29566-5470-D3D8-0F61-D70F81B7E5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153089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DE9F31A4-7BA9-4409-0FF0-FF9FD06F3D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339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2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</a:t>
            </a:r>
            <a:r>
              <a:rPr lang="pl-PL"/>
              <a:t>light</a:t>
            </a:r>
            <a:r>
              <a:rPr lang="en-US"/>
              <a:t> pictur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9803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547D85B3-8CD9-9846-DB0A-12364143C2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5000"/>
          </a:blip>
          <a:stretch>
            <a:fillRect/>
          </a:stretch>
        </p:blipFill>
        <p:spPr>
          <a:xfrm>
            <a:off x="0" y="1371600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3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dark pictur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83FCC9-DD19-ACEA-AAB1-9D15104F9E8D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48116B25-28AD-427B-1033-715BCFEF17E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89627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4 (with dark 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5AD027A1-F5B6-22EB-1410-56C7B52891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617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6A0C1C-FFFA-74C0-3719-4E6EA4C7BF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CAEB09-CC92-C4AF-AFC7-84F7B4C83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D3862E9-4343-21F9-03D0-319C0D76EE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214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0" bIns="91440"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DA1A1B8-63A0-5FF8-D94D-A64DF0037B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51E08A-0EC1-9757-9EC4-3B8B8A2FC0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04AA86-3390-5E05-F138-33B691BA0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372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292D3A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292D3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7513D-A3AB-F0E4-0CD1-28BE5E7621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D4E66E-34EA-3AC2-4F5C-196138F8CF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20F7DE3-5012-50D0-0EE0-FBB950E366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89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E461D8-0641-727D-F822-B1556D372F2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DC7940-ECD3-9B40-E568-B47ABAFA6A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914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5471598"/>
            <a:ext cx="8228011" cy="53340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1386402"/>
            <a:ext cx="7518482" cy="4085196"/>
          </a:xfrm>
        </p:spPr>
        <p:txBody>
          <a:bodyPr lIns="91440" anchor="ctr" anchorCtr="0"/>
          <a:lstStyle>
            <a:lvl1pPr marL="219456" indent="-219456">
              <a:defRPr sz="4000" b="0" cap="none" baseline="0">
                <a:latin typeface="HPE Graphik Light" pitchFamily="50" charset="0"/>
                <a:cs typeface="HPE Graphik Light" pitchFamily="50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2754E-094F-7C73-88B9-FF823BF830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CDFAF2-F03B-8CB9-A43F-2C8C54F552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54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BE2E1BB-CE0A-BA4E-62F3-C11C72B14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4EC4B5E-61C1-0327-AC26-FD6B85B7F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6E81DF5-9D1C-2874-F10C-40090BD53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34628090-D045-413C-E6D5-4DA95E1738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A5FBD065-FB15-F23A-3BCC-D33B8BBA2BA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ECC81EA-9F85-54A6-3C45-4F239CC09D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62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C7E62B9-7B57-1325-41F8-B563932F3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D4869DF-7C8C-6D6D-CBDF-4F57DD5DF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FBDD54F-6F02-5565-BE03-576E378CDA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A6541683-6FD5-D019-008C-CBEFA0DFC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632F369-11D4-00F5-EE97-45F7C25F1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5DBC55-08BE-7E3C-3F51-BE594342437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63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8D69DFE-88C2-F477-D6FA-5A27957CC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6E6D92-7C0F-2881-3B5C-2BB90CF3E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6047C21-8C30-FF57-32D9-77CA97A796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2" name="Subtitle 2">
            <a:extLst>
              <a:ext uri="{FF2B5EF4-FFF2-40B4-BE49-F238E27FC236}">
                <a16:creationId xmlns:a16="http://schemas.microsoft.com/office/drawing/2014/main" id="{3D4294F3-2CAC-36D6-C4BA-7C426967493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0642D83-CB25-4027-6475-F7C414AF28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3C3471-2479-E641-5030-4A30DEFD0B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05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4 (with </a:t>
            </a:r>
            <a:r>
              <a:rPr lang="pl-PL"/>
              <a:t>light </a:t>
            </a:r>
            <a:r>
              <a:rPr lang="en-US"/>
              <a:t>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E8EFE5D-1C0B-203B-2788-D4F44A09CA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36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4 (with dark 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5AD027A1-F5B6-22EB-1410-56C7B52891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29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 with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BD4F32D-3591-565F-ADF6-7D7D28EF243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2974206"/>
            <a:ext cx="9206753" cy="3883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38" y="1178790"/>
            <a:ext cx="9144000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5 (with picture)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1730018-7DE4-8985-2868-18B01444A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55099" y="2887955"/>
            <a:ext cx="2485505" cy="10268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 maximum three lin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BD8F41-4872-8861-CBF3-EDAA068B0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5098" y="3924300"/>
            <a:ext cx="24855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85DF01E-4205-00B8-31D5-62F133D64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5097" y="6155690"/>
            <a:ext cx="1834441" cy="45062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8DF9B4-8078-C49B-C422-13DD4F863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4DA0103-EE8D-10C5-8FF2-02FCBAFCB9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777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 with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BD4F32D-3591-565F-ADF6-7D7D28EF243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2974206"/>
            <a:ext cx="9206753" cy="3883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38" y="1178790"/>
            <a:ext cx="9144000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5 (with picture)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1730018-7DE4-8985-2868-18B01444A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55099" y="2887955"/>
            <a:ext cx="2485505" cy="10268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 maximum three lin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BD8F41-4872-8861-CBF3-EDAA068B0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5098" y="3924300"/>
            <a:ext cx="24855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85DF01E-4205-00B8-31D5-62F133D64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5097" y="6155690"/>
            <a:ext cx="1834441" cy="45062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8DF9B4-8078-C49B-C422-13DD4F863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4DA0103-EE8D-10C5-8FF2-02FCBAFCB9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49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6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Element image" descr="A black and white rectangle with a green and black rectangle&#10;&#10;AI-generated content may be incorrect.">
            <a:extLst>
              <a:ext uri="{FF2B5EF4-FFF2-40B4-BE49-F238E27FC236}">
                <a16:creationId xmlns:a16="http://schemas.microsoft.com/office/drawing/2014/main" id="{557B342C-B686-916C-8D1E-533F53E2C2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912" y="1127322"/>
            <a:ext cx="4465637" cy="2951480"/>
          </a:xfrm>
        </p:spPr>
        <p:txBody>
          <a:bodyPr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6 </a:t>
            </a:r>
            <a:br>
              <a:rPr lang="en-US"/>
            </a:br>
            <a:r>
              <a:rPr lang="en-US"/>
              <a:t>(with picture)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90E4737B-80BB-A453-9EC0-40344848478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A6F5877F-D5C2-0CC0-F815-A40F949BFE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B4B6A315-F84A-43CB-2612-0093AD26A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650" y="4101316"/>
            <a:ext cx="4465638" cy="680234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br>
              <a:rPr lang="en-US"/>
            </a:br>
            <a:r>
              <a:rPr lang="en-US"/>
              <a:t>over 2 lines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E6999B2-BD34-3D8A-995A-23314865E5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7" y="4838706"/>
            <a:ext cx="4465637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pic>
        <p:nvPicPr>
          <p:cNvPr id="12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60D540B-8356-03C5-A3D0-DD92935A31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525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02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2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86C1509-153F-BD27-73E3-F87006A3E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3318031-32A0-57F5-89E3-BD97D3EE4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439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3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3C35D8-793D-910E-958E-12734E943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ABB62-7FB2-A10A-FB79-640977444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0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lement Image">
            <a:extLst>
              <a:ext uri="{FF2B5EF4-FFF2-40B4-BE49-F238E27FC236}">
                <a16:creationId xmlns:a16="http://schemas.microsoft.com/office/drawing/2014/main" id="{1A711596-B981-E895-2147-80AF02FC6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96" t="654" r="1416" b="120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51F0D95-92C8-F614-A840-CCF636DDB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5" y="393193"/>
            <a:ext cx="11433977" cy="946080"/>
          </a:xfrm>
        </p:spPr>
        <p:txBody>
          <a:bodyPr lIns="0" tIns="0" rIns="91440" bIns="0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Divider 4 (with picture)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D7B23CD-0964-2C4F-2645-F616DF81D0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C3AD242-1EDC-575F-5C91-FD24DABDD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6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165860"/>
            <a:ext cx="11404800" cy="5097600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B6C3F6-7864-1614-6433-B6E9205341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A371ED-2734-3586-C69F-E31DDE6FB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72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42628" cy="775846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62CB2E-81D7-48A5-A15B-340BF48D2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268E2A-81AF-75F2-036F-19A286FA83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614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499906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95F41DF-93F3-CDC9-2F09-5645DCF4B1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B1FDE8-1311-7248-18A8-D4800084C2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A4E9F6-3410-0A4E-80C1-A550B6D95A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8228B93E-9AAB-D047-1D10-C52AC4536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bIns="0" anchor="t"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Content Placeholder">
            <a:extLst>
              <a:ext uri="{FF2B5EF4-FFF2-40B4-BE49-F238E27FC236}">
                <a16:creationId xmlns:a16="http://schemas.microsoft.com/office/drawing/2014/main" id="{E0C985E2-323F-7805-FB56-916EC03BF8F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557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6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Element image" descr="A black and white rectangle with a green and black rectangle&#10;&#10;AI-generated content may be incorrect.">
            <a:extLst>
              <a:ext uri="{FF2B5EF4-FFF2-40B4-BE49-F238E27FC236}">
                <a16:creationId xmlns:a16="http://schemas.microsoft.com/office/drawing/2014/main" id="{557B342C-B686-916C-8D1E-533F53E2C2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912" y="1127322"/>
            <a:ext cx="4465637" cy="2951480"/>
          </a:xfrm>
        </p:spPr>
        <p:txBody>
          <a:bodyPr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6 </a:t>
            </a:r>
            <a:br>
              <a:rPr lang="en-US"/>
            </a:br>
            <a:r>
              <a:rPr lang="en-US"/>
              <a:t>(with picture)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90E4737B-80BB-A453-9EC0-40344848478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A6F5877F-D5C2-0CC0-F815-A40F949BFE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B4B6A315-F84A-43CB-2612-0093AD26A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650" y="4101316"/>
            <a:ext cx="4465638" cy="680234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br>
              <a:rPr lang="en-US"/>
            </a:br>
            <a:r>
              <a:rPr lang="en-US"/>
              <a:t>over 2 lines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E6999B2-BD34-3D8A-995A-23314865E5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7" y="4838706"/>
            <a:ext cx="4465637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pic>
        <p:nvPicPr>
          <p:cNvPr id="12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60D540B-8356-03C5-A3D0-DD92935A31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098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3" y="1526183"/>
            <a:ext cx="11347170" cy="369486"/>
          </a:xfrm>
          <a:prstGeom prst="rect">
            <a:avLst/>
          </a:prstGeom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lIns="0" tIns="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4186561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BAE68A-27A7-6C3D-4142-7F3922D49B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444F98-C525-C008-1B46-B4DCF8808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243D16-78B0-BF7E-7EE9-B51138BA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176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7"/>
            <a:ext cx="5523992" cy="4729841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53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09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8312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8312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226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3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60021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399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rgbClr val="292D3A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1F8B9-A226-C863-E39B-92687650DA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2C88C5-7051-4300-5EDA-B8F76B6C39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7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9074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0021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02BBC2-BD44-DEAF-58E4-737CC53BBBD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DD5D5E-5ECA-A659-E4D1-059428798A6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72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7EAFD6-415C-88F0-6EE5-4D5D4B8A95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81A8C7-DBC3-6CA7-393A-B76EB01BD15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77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 anchorCtr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1CB3F7-BD80-2E75-509D-9F8010556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99F5B5-25C5-2F5D-8947-057651169F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E933D73-FF2E-5038-2928-57B052E6DEC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5CFBF7C-9A9D-283B-3040-62F4E8BBA2B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B5786B1-1D78-07AE-99E2-9ACA6A302D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320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285DB-111F-371C-CCBA-1DD3F3E0D33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8A4F95-E980-ECB5-112F-5B4A2D0D770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277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85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6B5E63-2A42-E758-4078-93602512C4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BBC2BF-0D27-EE97-15E2-3172489A9E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E1F0C114-EFF4-4AC2-300D-DD8958809D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B155FBF-4BEC-C1E1-CB2C-2ED0CF71CC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15D01BB8-727D-8CA2-AA4D-A23CC782B59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3065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186492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276344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3" y="393192"/>
            <a:ext cx="11442627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9555D4-44D6-AEAB-C73E-7D5E09D78D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DBD838-E55E-389E-324E-987E3489B3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76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6122" y="1499259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5611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4A635-D29C-5A5D-714B-00FFBC1127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E2F088-5C0B-D552-5583-1D142B559A9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14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0F9A92-64E5-9B39-37FB-32E33BE347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1C6913-628D-910F-538E-B2627BE58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998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66A10F-E470-2340-640E-A14F8662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5F6F1F-DB9C-06A9-C184-CF5F49CEF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71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A5188-3004-E27B-6C13-6CEBF1DE5A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A4466B-6230-7EB6-5A32-83ABCAD0DC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11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vert="horz" lIns="0" tIns="0" rIns="0" bIns="4572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0EC1AB-5084-D572-D008-65E0904E99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AFB48-7218-4A49-8C9C-891144C153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820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94255" y="999540"/>
            <a:ext cx="3479038" cy="5100531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377B5-1282-FF1A-9E56-8C043D9FCD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3186F-3885-5DE5-8FA5-6CD9D9747D4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188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9023" y="4131540"/>
            <a:ext cx="5564990" cy="2034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1475"/>
            <a:ext cx="5564990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64BF61-1E66-23EC-73D9-9D4373CF4EF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CAAFC-7C73-8B7A-5AEF-933F0A6EB31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323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0912" y="4184650"/>
            <a:ext cx="3684405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2908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540000" indent="0">
              <a:buNone/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E0358-7593-FDA7-B0FB-FF0EC1E320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87F768-80AD-E284-7CB0-AA45A8DB30A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37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2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86C1509-153F-BD27-73E3-F87006A3E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3318031-32A0-57F5-89E3-BD97D3EE4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728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100945" y="1533798"/>
            <a:ext cx="7707937" cy="4737462"/>
          </a:xfrm>
          <a:prstGeom prst="rect">
            <a:avLst/>
          </a:prstGeom>
        </p:spPr>
        <p:txBody>
          <a:bodyPr lIns="0" tIns="45720" rIns="0" bIns="45720" anchor="ctr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374905" y="1541418"/>
            <a:ext cx="3393532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Add multi-Line Tit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7B045ACD-D682-9F85-8976-3DE690571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rgbClr val="292D3A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C3246-51E8-2C6D-91C1-DC5E683C7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66BA11A-FF4F-0B31-22B7-B062F5B3F9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427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 and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/>
          </p:nvPr>
        </p:nvSpPr>
        <p:spPr>
          <a:xfrm>
            <a:off x="4210050" y="0"/>
            <a:ext cx="79819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Number Text Placeholder 13">
            <a:extLst>
              <a:ext uri="{FF2B5EF4-FFF2-40B4-BE49-F238E27FC236}">
                <a16:creationId xmlns:a16="http://schemas.microsoft.com/office/drawing/2014/main" id="{C8956EBD-8393-95D1-85FB-895F28E85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prstGeom prst="rect">
            <a:avLst/>
          </a:prstGeom>
          <a:gradFill flip="none" rotWithShape="1">
            <a:gsLst>
              <a:gs pos="14000">
                <a:srgbClr val="05CC93"/>
              </a:gs>
              <a:gs pos="39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3462615" cy="8412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Title only and </a:t>
            </a:r>
            <a:r>
              <a:rPr lang="en-US"/>
              <a:t>Conten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FA01E04-C64C-CB22-532A-A4E1A8B4F2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2101BA-46FD-36C0-99F1-408C742C97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D4E478-B9A3-DF0A-2BC5-A31D39827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9192AB6B-CCDC-C9ED-9B4D-B9B1DAE2F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905" y="1541418"/>
            <a:ext cx="3462614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a Text Placeholder">
            <a:extLst>
              <a:ext uri="{FF2B5EF4-FFF2-40B4-BE49-F238E27FC236}">
                <a16:creationId xmlns:a16="http://schemas.microsoft.com/office/drawing/2014/main" id="{500C222B-F667-A5FC-32C7-C2F0B92957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86788" y="5251730"/>
            <a:ext cx="3230307" cy="88538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64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BED57-19AD-707F-6DA8-8B468453C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36B64A-A8CA-B4F8-1ED1-53DA9C290E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60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8107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6B6084-0FE4-4048-3583-741AE0C95AE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FA49D1-EA5E-4BDC-03EF-986C3CB3B92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55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8C0B22-3DC2-E652-E265-9A67A96AF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BA14BF-4CB3-F25B-80B2-5B579ED38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303F11-128A-0352-F6B9-03E0CB827C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573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615"/>
            <a:ext cx="9416520" cy="2306296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4FC89-98CE-BBFA-D898-76DCDE986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42BF92-646B-24E1-901E-D19598CBBE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063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2CDC00-5B37-BE1C-550C-F0774AF95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7AC752-1063-D945-4038-6C1905F0C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D784A7-2DD7-80EE-047F-D63021A326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068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4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AC085-14E9-0648-9F2A-D3AD872D97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CAEB46-BF54-E6AC-203B-DC671344E5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16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650"/>
            <a:ext cx="4062159" cy="3553883"/>
          </a:xfrm>
        </p:spPr>
        <p:txBody>
          <a:bodyPr anchor="t"/>
          <a:lstStyle>
            <a:lvl1pPr>
              <a:lnSpc>
                <a:spcPct val="90000"/>
              </a:lnSpc>
              <a:defRPr sz="4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58DE96-548B-9145-85BC-5AF5D72537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DAEC1C-FBEC-C5AF-4FAC-F67E7EBEF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14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96.xml"/><Relationship Id="rId47" Type="http://schemas.openxmlformats.org/officeDocument/2006/relationships/slideLayout" Target="../slideLayouts/slideLayout101.xml"/><Relationship Id="rId50" Type="http://schemas.openxmlformats.org/officeDocument/2006/relationships/slideLayout" Target="../slideLayouts/slideLayout104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40" Type="http://schemas.openxmlformats.org/officeDocument/2006/relationships/slideLayout" Target="../slideLayouts/slideLayout94.xml"/><Relationship Id="rId45" Type="http://schemas.openxmlformats.org/officeDocument/2006/relationships/slideLayout" Target="../slideLayouts/slideLayout99.xml"/><Relationship Id="rId53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Relationship Id="rId43" Type="http://schemas.openxmlformats.org/officeDocument/2006/relationships/slideLayout" Target="../slideLayouts/slideLayout97.xml"/><Relationship Id="rId48" Type="http://schemas.openxmlformats.org/officeDocument/2006/relationships/slideLayout" Target="../slideLayouts/slideLayout102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62.xml"/><Relationship Id="rId51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slideLayout" Target="../slideLayouts/slideLayout92.xml"/><Relationship Id="rId4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74.xml"/><Relationship Id="rId41" Type="http://schemas.openxmlformats.org/officeDocument/2006/relationships/slideLayout" Target="../slideLayouts/slideLayout95.xml"/><Relationship Id="rId54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49" Type="http://schemas.openxmlformats.org/officeDocument/2006/relationships/slideLayout" Target="../slideLayouts/slideLayout103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85.xml"/><Relationship Id="rId44" Type="http://schemas.openxmlformats.org/officeDocument/2006/relationships/slideLayout" Target="../slideLayouts/slideLayout98.xml"/><Relationship Id="rId52" Type="http://schemas.openxmlformats.org/officeDocument/2006/relationships/slideLayout" Target="../slideLayouts/slideLayout10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26" Type="http://schemas.openxmlformats.org/officeDocument/2006/relationships/slideLayout" Target="../slideLayouts/slideLayout134.xml"/><Relationship Id="rId39" Type="http://schemas.openxmlformats.org/officeDocument/2006/relationships/slideLayout" Target="../slideLayouts/slideLayout147.xml"/><Relationship Id="rId21" Type="http://schemas.openxmlformats.org/officeDocument/2006/relationships/slideLayout" Target="../slideLayouts/slideLayout129.xml"/><Relationship Id="rId34" Type="http://schemas.openxmlformats.org/officeDocument/2006/relationships/slideLayout" Target="../slideLayouts/slideLayout142.xml"/><Relationship Id="rId42" Type="http://schemas.openxmlformats.org/officeDocument/2006/relationships/slideLayout" Target="../slideLayouts/slideLayout150.xml"/><Relationship Id="rId47" Type="http://schemas.openxmlformats.org/officeDocument/2006/relationships/slideLayout" Target="../slideLayouts/slideLayout155.xml"/><Relationship Id="rId50" Type="http://schemas.openxmlformats.org/officeDocument/2006/relationships/image" Target="../media/image39.png"/><Relationship Id="rId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9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19.xml"/><Relationship Id="rId24" Type="http://schemas.openxmlformats.org/officeDocument/2006/relationships/slideLayout" Target="../slideLayouts/slideLayout132.xml"/><Relationship Id="rId32" Type="http://schemas.openxmlformats.org/officeDocument/2006/relationships/slideLayout" Target="../slideLayouts/slideLayout140.xml"/><Relationship Id="rId37" Type="http://schemas.openxmlformats.org/officeDocument/2006/relationships/slideLayout" Target="../slideLayouts/slideLayout145.xml"/><Relationship Id="rId40" Type="http://schemas.openxmlformats.org/officeDocument/2006/relationships/slideLayout" Target="../slideLayouts/slideLayout148.xml"/><Relationship Id="rId45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23" Type="http://schemas.openxmlformats.org/officeDocument/2006/relationships/slideLayout" Target="../slideLayouts/slideLayout131.xml"/><Relationship Id="rId28" Type="http://schemas.openxmlformats.org/officeDocument/2006/relationships/slideLayout" Target="../slideLayouts/slideLayout136.xml"/><Relationship Id="rId36" Type="http://schemas.openxmlformats.org/officeDocument/2006/relationships/slideLayout" Target="../slideLayouts/slideLayout144.xml"/><Relationship Id="rId49" Type="http://schemas.openxmlformats.org/officeDocument/2006/relationships/theme" Target="../theme/theme3.xml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31" Type="http://schemas.openxmlformats.org/officeDocument/2006/relationships/slideLayout" Target="../slideLayouts/slideLayout139.xml"/><Relationship Id="rId44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Relationship Id="rId22" Type="http://schemas.openxmlformats.org/officeDocument/2006/relationships/slideLayout" Target="../slideLayouts/slideLayout130.xml"/><Relationship Id="rId27" Type="http://schemas.openxmlformats.org/officeDocument/2006/relationships/slideLayout" Target="../slideLayouts/slideLayout135.xml"/><Relationship Id="rId30" Type="http://schemas.openxmlformats.org/officeDocument/2006/relationships/slideLayout" Target="../slideLayouts/slideLayout138.xml"/><Relationship Id="rId35" Type="http://schemas.openxmlformats.org/officeDocument/2006/relationships/slideLayout" Target="../slideLayouts/slideLayout143.xml"/><Relationship Id="rId43" Type="http://schemas.openxmlformats.org/officeDocument/2006/relationships/slideLayout" Target="../slideLayouts/slideLayout151.xml"/><Relationship Id="rId48" Type="http://schemas.openxmlformats.org/officeDocument/2006/relationships/slideLayout" Target="../slideLayouts/slideLayout156.xml"/><Relationship Id="rId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5" Type="http://schemas.openxmlformats.org/officeDocument/2006/relationships/slideLayout" Target="../slideLayouts/slideLayout133.xml"/><Relationship Id="rId33" Type="http://schemas.openxmlformats.org/officeDocument/2006/relationships/slideLayout" Target="../slideLayouts/slideLayout141.xml"/><Relationship Id="rId38" Type="http://schemas.openxmlformats.org/officeDocument/2006/relationships/slideLayout" Target="../slideLayouts/slideLayout146.xml"/><Relationship Id="rId46" Type="http://schemas.openxmlformats.org/officeDocument/2006/relationships/slideLayout" Target="../slideLayouts/slideLayout154.xml"/><Relationship Id="rId20" Type="http://schemas.openxmlformats.org/officeDocument/2006/relationships/slideLayout" Target="../slideLayouts/slideLayout128.xml"/><Relationship Id="rId41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4.xml"/><Relationship Id="rId26" Type="http://schemas.openxmlformats.org/officeDocument/2006/relationships/slideLayout" Target="../slideLayouts/slideLayout182.xml"/><Relationship Id="rId21" Type="http://schemas.openxmlformats.org/officeDocument/2006/relationships/slideLayout" Target="../slideLayouts/slideLayout177.xml"/><Relationship Id="rId34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5" Type="http://schemas.openxmlformats.org/officeDocument/2006/relationships/slideLayout" Target="../slideLayouts/slideLayout181.xml"/><Relationship Id="rId33" Type="http://schemas.openxmlformats.org/officeDocument/2006/relationships/slideLayout" Target="../slideLayouts/slideLayout189.xml"/><Relationship Id="rId38" Type="http://schemas.openxmlformats.org/officeDocument/2006/relationships/theme" Target="../theme/theme4.xml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20" Type="http://schemas.openxmlformats.org/officeDocument/2006/relationships/slideLayout" Target="../slideLayouts/slideLayout176.xml"/><Relationship Id="rId29" Type="http://schemas.openxmlformats.org/officeDocument/2006/relationships/slideLayout" Target="../slideLayouts/slideLayout185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24" Type="http://schemas.openxmlformats.org/officeDocument/2006/relationships/slideLayout" Target="../slideLayouts/slideLayout180.xml"/><Relationship Id="rId32" Type="http://schemas.openxmlformats.org/officeDocument/2006/relationships/slideLayout" Target="../slideLayouts/slideLayout188.xml"/><Relationship Id="rId37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23" Type="http://schemas.openxmlformats.org/officeDocument/2006/relationships/slideLayout" Target="../slideLayouts/slideLayout179.xml"/><Relationship Id="rId28" Type="http://schemas.openxmlformats.org/officeDocument/2006/relationships/slideLayout" Target="../slideLayouts/slideLayout184.xml"/><Relationship Id="rId36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66.xml"/><Relationship Id="rId19" Type="http://schemas.openxmlformats.org/officeDocument/2006/relationships/slideLayout" Target="../slideLayouts/slideLayout175.xml"/><Relationship Id="rId31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Relationship Id="rId22" Type="http://schemas.openxmlformats.org/officeDocument/2006/relationships/slideLayout" Target="../slideLayouts/slideLayout178.xml"/><Relationship Id="rId27" Type="http://schemas.openxmlformats.org/officeDocument/2006/relationships/slideLayout" Target="../slideLayouts/slideLayout183.xml"/><Relationship Id="rId30" Type="http://schemas.openxmlformats.org/officeDocument/2006/relationships/slideLayout" Target="../slideLayouts/slideLayout186.xml"/><Relationship Id="rId35" Type="http://schemas.openxmlformats.org/officeDocument/2006/relationships/slideLayout" Target="../slideLayouts/slideLayout191.xml"/><Relationship Id="rId8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5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6.xml"/><Relationship Id="rId18" Type="http://schemas.openxmlformats.org/officeDocument/2006/relationships/slideLayout" Target="../slideLayouts/slideLayout211.xml"/><Relationship Id="rId26" Type="http://schemas.openxmlformats.org/officeDocument/2006/relationships/slideLayout" Target="../slideLayouts/slideLayout219.xml"/><Relationship Id="rId39" Type="http://schemas.openxmlformats.org/officeDocument/2006/relationships/slideLayout" Target="../slideLayouts/slideLayout232.xml"/><Relationship Id="rId21" Type="http://schemas.openxmlformats.org/officeDocument/2006/relationships/slideLayout" Target="../slideLayouts/slideLayout214.xml"/><Relationship Id="rId34" Type="http://schemas.openxmlformats.org/officeDocument/2006/relationships/slideLayout" Target="../slideLayouts/slideLayout227.xml"/><Relationship Id="rId42" Type="http://schemas.openxmlformats.org/officeDocument/2006/relationships/slideLayout" Target="../slideLayouts/slideLayout235.xml"/><Relationship Id="rId47" Type="http://schemas.openxmlformats.org/officeDocument/2006/relationships/slideLayout" Target="../slideLayouts/slideLayout240.xml"/><Relationship Id="rId50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00.xml"/><Relationship Id="rId2" Type="http://schemas.openxmlformats.org/officeDocument/2006/relationships/slideLayout" Target="../slideLayouts/slideLayout195.xml"/><Relationship Id="rId16" Type="http://schemas.openxmlformats.org/officeDocument/2006/relationships/slideLayout" Target="../slideLayouts/slideLayout209.xml"/><Relationship Id="rId29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04.xml"/><Relationship Id="rId24" Type="http://schemas.openxmlformats.org/officeDocument/2006/relationships/slideLayout" Target="../slideLayouts/slideLayout217.xml"/><Relationship Id="rId32" Type="http://schemas.openxmlformats.org/officeDocument/2006/relationships/slideLayout" Target="../slideLayouts/slideLayout225.xml"/><Relationship Id="rId37" Type="http://schemas.openxmlformats.org/officeDocument/2006/relationships/slideLayout" Target="../slideLayouts/slideLayout230.xml"/><Relationship Id="rId40" Type="http://schemas.openxmlformats.org/officeDocument/2006/relationships/slideLayout" Target="../slideLayouts/slideLayout233.xml"/><Relationship Id="rId45" Type="http://schemas.openxmlformats.org/officeDocument/2006/relationships/slideLayout" Target="../slideLayouts/slideLayout238.xml"/><Relationship Id="rId53" Type="http://schemas.openxmlformats.org/officeDocument/2006/relationships/image" Target="../media/image39.png"/><Relationship Id="rId5" Type="http://schemas.openxmlformats.org/officeDocument/2006/relationships/slideLayout" Target="../slideLayouts/slideLayout198.xml"/><Relationship Id="rId10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212.xml"/><Relationship Id="rId31" Type="http://schemas.openxmlformats.org/officeDocument/2006/relationships/slideLayout" Target="../slideLayouts/slideLayout224.xml"/><Relationship Id="rId44" Type="http://schemas.openxmlformats.org/officeDocument/2006/relationships/slideLayout" Target="../slideLayouts/slideLayout237.xml"/><Relationship Id="rId52" Type="http://schemas.openxmlformats.org/officeDocument/2006/relationships/theme" Target="../theme/theme5.xml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Relationship Id="rId14" Type="http://schemas.openxmlformats.org/officeDocument/2006/relationships/slideLayout" Target="../slideLayouts/slideLayout207.xml"/><Relationship Id="rId22" Type="http://schemas.openxmlformats.org/officeDocument/2006/relationships/slideLayout" Target="../slideLayouts/slideLayout215.xml"/><Relationship Id="rId27" Type="http://schemas.openxmlformats.org/officeDocument/2006/relationships/slideLayout" Target="../slideLayouts/slideLayout220.xml"/><Relationship Id="rId30" Type="http://schemas.openxmlformats.org/officeDocument/2006/relationships/slideLayout" Target="../slideLayouts/slideLayout223.xml"/><Relationship Id="rId35" Type="http://schemas.openxmlformats.org/officeDocument/2006/relationships/slideLayout" Target="../slideLayouts/slideLayout228.xml"/><Relationship Id="rId43" Type="http://schemas.openxmlformats.org/officeDocument/2006/relationships/slideLayout" Target="../slideLayouts/slideLayout236.xml"/><Relationship Id="rId48" Type="http://schemas.openxmlformats.org/officeDocument/2006/relationships/slideLayout" Target="../slideLayouts/slideLayout241.xml"/><Relationship Id="rId8" Type="http://schemas.openxmlformats.org/officeDocument/2006/relationships/slideLayout" Target="../slideLayouts/slideLayout201.xml"/><Relationship Id="rId51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5.xml"/><Relationship Id="rId17" Type="http://schemas.openxmlformats.org/officeDocument/2006/relationships/slideLayout" Target="../slideLayouts/slideLayout210.xml"/><Relationship Id="rId25" Type="http://schemas.openxmlformats.org/officeDocument/2006/relationships/slideLayout" Target="../slideLayouts/slideLayout218.xml"/><Relationship Id="rId33" Type="http://schemas.openxmlformats.org/officeDocument/2006/relationships/slideLayout" Target="../slideLayouts/slideLayout226.xml"/><Relationship Id="rId38" Type="http://schemas.openxmlformats.org/officeDocument/2006/relationships/slideLayout" Target="../slideLayouts/slideLayout231.xml"/><Relationship Id="rId4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13.xml"/><Relationship Id="rId41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5" Type="http://schemas.openxmlformats.org/officeDocument/2006/relationships/slideLayout" Target="../slideLayouts/slideLayout208.xml"/><Relationship Id="rId23" Type="http://schemas.openxmlformats.org/officeDocument/2006/relationships/slideLayout" Target="../slideLayouts/slideLayout216.xml"/><Relationship Id="rId28" Type="http://schemas.openxmlformats.org/officeDocument/2006/relationships/slideLayout" Target="../slideLayouts/slideLayout221.xml"/><Relationship Id="rId36" Type="http://schemas.openxmlformats.org/officeDocument/2006/relationships/slideLayout" Target="../slideLayouts/slideLayout229.xml"/><Relationship Id="rId49" Type="http://schemas.openxmlformats.org/officeDocument/2006/relationships/slideLayout" Target="../slideLayouts/slideLayout24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7.xml"/><Relationship Id="rId18" Type="http://schemas.openxmlformats.org/officeDocument/2006/relationships/slideLayout" Target="../slideLayouts/slideLayout262.xml"/><Relationship Id="rId26" Type="http://schemas.openxmlformats.org/officeDocument/2006/relationships/slideLayout" Target="../slideLayouts/slideLayout270.xml"/><Relationship Id="rId39" Type="http://schemas.openxmlformats.org/officeDocument/2006/relationships/slideLayout" Target="../slideLayouts/slideLayout283.xml"/><Relationship Id="rId21" Type="http://schemas.openxmlformats.org/officeDocument/2006/relationships/slideLayout" Target="../slideLayouts/slideLayout265.xml"/><Relationship Id="rId34" Type="http://schemas.openxmlformats.org/officeDocument/2006/relationships/slideLayout" Target="../slideLayouts/slideLayout278.xml"/><Relationship Id="rId42" Type="http://schemas.openxmlformats.org/officeDocument/2006/relationships/slideLayout" Target="../slideLayouts/slideLayout286.xml"/><Relationship Id="rId47" Type="http://schemas.openxmlformats.org/officeDocument/2006/relationships/slideLayout" Target="../slideLayouts/slideLayout291.xml"/><Relationship Id="rId50" Type="http://schemas.openxmlformats.org/officeDocument/2006/relationships/slideLayout" Target="../slideLayouts/slideLayout294.xml"/><Relationship Id="rId55" Type="http://schemas.openxmlformats.org/officeDocument/2006/relationships/theme" Target="../theme/theme6.xml"/><Relationship Id="rId7" Type="http://schemas.openxmlformats.org/officeDocument/2006/relationships/slideLayout" Target="../slideLayouts/slideLayout251.xml"/><Relationship Id="rId2" Type="http://schemas.openxmlformats.org/officeDocument/2006/relationships/slideLayout" Target="../slideLayouts/slideLayout246.xml"/><Relationship Id="rId16" Type="http://schemas.openxmlformats.org/officeDocument/2006/relationships/slideLayout" Target="../slideLayouts/slideLayout260.xml"/><Relationship Id="rId29" Type="http://schemas.openxmlformats.org/officeDocument/2006/relationships/slideLayout" Target="../slideLayouts/slideLayout273.xml"/><Relationship Id="rId11" Type="http://schemas.openxmlformats.org/officeDocument/2006/relationships/slideLayout" Target="../slideLayouts/slideLayout255.xml"/><Relationship Id="rId24" Type="http://schemas.openxmlformats.org/officeDocument/2006/relationships/slideLayout" Target="../slideLayouts/slideLayout268.xml"/><Relationship Id="rId32" Type="http://schemas.openxmlformats.org/officeDocument/2006/relationships/slideLayout" Target="../slideLayouts/slideLayout276.xml"/><Relationship Id="rId37" Type="http://schemas.openxmlformats.org/officeDocument/2006/relationships/slideLayout" Target="../slideLayouts/slideLayout281.xml"/><Relationship Id="rId40" Type="http://schemas.openxmlformats.org/officeDocument/2006/relationships/slideLayout" Target="../slideLayouts/slideLayout284.xml"/><Relationship Id="rId45" Type="http://schemas.openxmlformats.org/officeDocument/2006/relationships/slideLayout" Target="../slideLayouts/slideLayout289.xml"/><Relationship Id="rId53" Type="http://schemas.openxmlformats.org/officeDocument/2006/relationships/slideLayout" Target="../slideLayouts/slideLayout297.xml"/><Relationship Id="rId5" Type="http://schemas.openxmlformats.org/officeDocument/2006/relationships/slideLayout" Target="../slideLayouts/slideLayout249.xml"/><Relationship Id="rId19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48.xml"/><Relationship Id="rId9" Type="http://schemas.openxmlformats.org/officeDocument/2006/relationships/slideLayout" Target="../slideLayouts/slideLayout253.xml"/><Relationship Id="rId14" Type="http://schemas.openxmlformats.org/officeDocument/2006/relationships/slideLayout" Target="../slideLayouts/slideLayout258.xml"/><Relationship Id="rId22" Type="http://schemas.openxmlformats.org/officeDocument/2006/relationships/slideLayout" Target="../slideLayouts/slideLayout266.xml"/><Relationship Id="rId27" Type="http://schemas.openxmlformats.org/officeDocument/2006/relationships/slideLayout" Target="../slideLayouts/slideLayout271.xml"/><Relationship Id="rId30" Type="http://schemas.openxmlformats.org/officeDocument/2006/relationships/slideLayout" Target="../slideLayouts/slideLayout274.xml"/><Relationship Id="rId35" Type="http://schemas.openxmlformats.org/officeDocument/2006/relationships/slideLayout" Target="../slideLayouts/slideLayout279.xml"/><Relationship Id="rId43" Type="http://schemas.openxmlformats.org/officeDocument/2006/relationships/slideLayout" Target="../slideLayouts/slideLayout287.xml"/><Relationship Id="rId48" Type="http://schemas.openxmlformats.org/officeDocument/2006/relationships/slideLayout" Target="../slideLayouts/slideLayout292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252.xml"/><Relationship Id="rId51" Type="http://schemas.openxmlformats.org/officeDocument/2006/relationships/slideLayout" Target="../slideLayouts/slideLayout295.xml"/><Relationship Id="rId3" Type="http://schemas.openxmlformats.org/officeDocument/2006/relationships/slideLayout" Target="../slideLayouts/slideLayout247.xml"/><Relationship Id="rId12" Type="http://schemas.openxmlformats.org/officeDocument/2006/relationships/slideLayout" Target="../slideLayouts/slideLayout256.xml"/><Relationship Id="rId17" Type="http://schemas.openxmlformats.org/officeDocument/2006/relationships/slideLayout" Target="../slideLayouts/slideLayout261.xml"/><Relationship Id="rId25" Type="http://schemas.openxmlformats.org/officeDocument/2006/relationships/slideLayout" Target="../slideLayouts/slideLayout269.xml"/><Relationship Id="rId33" Type="http://schemas.openxmlformats.org/officeDocument/2006/relationships/slideLayout" Target="../slideLayouts/slideLayout277.xml"/><Relationship Id="rId38" Type="http://schemas.openxmlformats.org/officeDocument/2006/relationships/slideLayout" Target="../slideLayouts/slideLayout282.xml"/><Relationship Id="rId46" Type="http://schemas.openxmlformats.org/officeDocument/2006/relationships/slideLayout" Target="../slideLayouts/slideLayout290.xml"/><Relationship Id="rId20" Type="http://schemas.openxmlformats.org/officeDocument/2006/relationships/slideLayout" Target="../slideLayouts/slideLayout264.xml"/><Relationship Id="rId41" Type="http://schemas.openxmlformats.org/officeDocument/2006/relationships/slideLayout" Target="../slideLayouts/slideLayout285.xml"/><Relationship Id="rId54" Type="http://schemas.openxmlformats.org/officeDocument/2006/relationships/slideLayout" Target="../slideLayouts/slideLayout298.xml"/><Relationship Id="rId1" Type="http://schemas.openxmlformats.org/officeDocument/2006/relationships/slideLayout" Target="../slideLayouts/slideLayout245.xml"/><Relationship Id="rId6" Type="http://schemas.openxmlformats.org/officeDocument/2006/relationships/slideLayout" Target="../slideLayouts/slideLayout250.xml"/><Relationship Id="rId15" Type="http://schemas.openxmlformats.org/officeDocument/2006/relationships/slideLayout" Target="../slideLayouts/slideLayout259.xml"/><Relationship Id="rId23" Type="http://schemas.openxmlformats.org/officeDocument/2006/relationships/slideLayout" Target="../slideLayouts/slideLayout267.xml"/><Relationship Id="rId28" Type="http://schemas.openxmlformats.org/officeDocument/2006/relationships/slideLayout" Target="../slideLayouts/slideLayout272.xml"/><Relationship Id="rId36" Type="http://schemas.openxmlformats.org/officeDocument/2006/relationships/slideLayout" Target="../slideLayouts/slideLayout280.xml"/><Relationship Id="rId49" Type="http://schemas.openxmlformats.org/officeDocument/2006/relationships/slideLayout" Target="../slideLayouts/slideLayout293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254.xml"/><Relationship Id="rId31" Type="http://schemas.openxmlformats.org/officeDocument/2006/relationships/slideLayout" Target="../slideLayouts/slideLayout275.xml"/><Relationship Id="rId44" Type="http://schemas.openxmlformats.org/officeDocument/2006/relationships/slideLayout" Target="../slideLayouts/slideLayout288.xml"/><Relationship Id="rId52" Type="http://schemas.openxmlformats.org/officeDocument/2006/relationships/slideLayout" Target="../slideLayouts/slideLayout29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1.xml"/><Relationship Id="rId18" Type="http://schemas.openxmlformats.org/officeDocument/2006/relationships/slideLayout" Target="../slideLayouts/slideLayout316.xml"/><Relationship Id="rId26" Type="http://schemas.openxmlformats.org/officeDocument/2006/relationships/slideLayout" Target="../slideLayouts/slideLayout324.xml"/><Relationship Id="rId39" Type="http://schemas.openxmlformats.org/officeDocument/2006/relationships/slideLayout" Target="../slideLayouts/slideLayout337.xml"/><Relationship Id="rId21" Type="http://schemas.openxmlformats.org/officeDocument/2006/relationships/slideLayout" Target="../slideLayouts/slideLayout319.xml"/><Relationship Id="rId34" Type="http://schemas.openxmlformats.org/officeDocument/2006/relationships/slideLayout" Target="../slideLayouts/slideLayout332.xml"/><Relationship Id="rId42" Type="http://schemas.openxmlformats.org/officeDocument/2006/relationships/slideLayout" Target="../slideLayouts/slideLayout340.xml"/><Relationship Id="rId47" Type="http://schemas.openxmlformats.org/officeDocument/2006/relationships/slideLayout" Target="../slideLayouts/slideLayout345.xml"/><Relationship Id="rId50" Type="http://schemas.openxmlformats.org/officeDocument/2006/relationships/slideLayout" Target="../slideLayouts/slideLayout348.xml"/><Relationship Id="rId55" Type="http://schemas.openxmlformats.org/officeDocument/2006/relationships/slideLayout" Target="../slideLayouts/slideLayout353.xml"/><Relationship Id="rId7" Type="http://schemas.openxmlformats.org/officeDocument/2006/relationships/slideLayout" Target="../slideLayouts/slideLayout305.xml"/><Relationship Id="rId2" Type="http://schemas.openxmlformats.org/officeDocument/2006/relationships/slideLayout" Target="../slideLayouts/slideLayout300.xml"/><Relationship Id="rId16" Type="http://schemas.openxmlformats.org/officeDocument/2006/relationships/slideLayout" Target="../slideLayouts/slideLayout314.xml"/><Relationship Id="rId29" Type="http://schemas.openxmlformats.org/officeDocument/2006/relationships/slideLayout" Target="../slideLayouts/slideLayout327.xml"/><Relationship Id="rId11" Type="http://schemas.openxmlformats.org/officeDocument/2006/relationships/slideLayout" Target="../slideLayouts/slideLayout309.xml"/><Relationship Id="rId24" Type="http://schemas.openxmlformats.org/officeDocument/2006/relationships/slideLayout" Target="../slideLayouts/slideLayout322.xml"/><Relationship Id="rId32" Type="http://schemas.openxmlformats.org/officeDocument/2006/relationships/slideLayout" Target="../slideLayouts/slideLayout330.xml"/><Relationship Id="rId37" Type="http://schemas.openxmlformats.org/officeDocument/2006/relationships/slideLayout" Target="../slideLayouts/slideLayout335.xml"/><Relationship Id="rId40" Type="http://schemas.openxmlformats.org/officeDocument/2006/relationships/slideLayout" Target="../slideLayouts/slideLayout338.xml"/><Relationship Id="rId45" Type="http://schemas.openxmlformats.org/officeDocument/2006/relationships/slideLayout" Target="../slideLayouts/slideLayout343.xml"/><Relationship Id="rId53" Type="http://schemas.openxmlformats.org/officeDocument/2006/relationships/slideLayout" Target="../slideLayouts/slideLayout351.xml"/><Relationship Id="rId58" Type="http://schemas.openxmlformats.org/officeDocument/2006/relationships/image" Target="../media/image2.svg"/><Relationship Id="rId5" Type="http://schemas.openxmlformats.org/officeDocument/2006/relationships/slideLayout" Target="../slideLayouts/slideLayout303.xml"/><Relationship Id="rId19" Type="http://schemas.openxmlformats.org/officeDocument/2006/relationships/slideLayout" Target="../slideLayouts/slideLayout317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Relationship Id="rId14" Type="http://schemas.openxmlformats.org/officeDocument/2006/relationships/slideLayout" Target="../slideLayouts/slideLayout312.xml"/><Relationship Id="rId22" Type="http://schemas.openxmlformats.org/officeDocument/2006/relationships/slideLayout" Target="../slideLayouts/slideLayout320.xml"/><Relationship Id="rId27" Type="http://schemas.openxmlformats.org/officeDocument/2006/relationships/slideLayout" Target="../slideLayouts/slideLayout325.xml"/><Relationship Id="rId30" Type="http://schemas.openxmlformats.org/officeDocument/2006/relationships/slideLayout" Target="../slideLayouts/slideLayout328.xml"/><Relationship Id="rId35" Type="http://schemas.openxmlformats.org/officeDocument/2006/relationships/slideLayout" Target="../slideLayouts/slideLayout333.xml"/><Relationship Id="rId43" Type="http://schemas.openxmlformats.org/officeDocument/2006/relationships/slideLayout" Target="../slideLayouts/slideLayout341.xml"/><Relationship Id="rId48" Type="http://schemas.openxmlformats.org/officeDocument/2006/relationships/slideLayout" Target="../slideLayouts/slideLayout346.xml"/><Relationship Id="rId56" Type="http://schemas.openxmlformats.org/officeDocument/2006/relationships/theme" Target="../theme/theme7.xml"/><Relationship Id="rId8" Type="http://schemas.openxmlformats.org/officeDocument/2006/relationships/slideLayout" Target="../slideLayouts/slideLayout306.xml"/><Relationship Id="rId51" Type="http://schemas.openxmlformats.org/officeDocument/2006/relationships/slideLayout" Target="../slideLayouts/slideLayout349.xml"/><Relationship Id="rId3" Type="http://schemas.openxmlformats.org/officeDocument/2006/relationships/slideLayout" Target="../slideLayouts/slideLayout301.xml"/><Relationship Id="rId12" Type="http://schemas.openxmlformats.org/officeDocument/2006/relationships/slideLayout" Target="../slideLayouts/slideLayout310.xml"/><Relationship Id="rId17" Type="http://schemas.openxmlformats.org/officeDocument/2006/relationships/slideLayout" Target="../slideLayouts/slideLayout315.xml"/><Relationship Id="rId25" Type="http://schemas.openxmlformats.org/officeDocument/2006/relationships/slideLayout" Target="../slideLayouts/slideLayout323.xml"/><Relationship Id="rId33" Type="http://schemas.openxmlformats.org/officeDocument/2006/relationships/slideLayout" Target="../slideLayouts/slideLayout331.xml"/><Relationship Id="rId38" Type="http://schemas.openxmlformats.org/officeDocument/2006/relationships/slideLayout" Target="../slideLayouts/slideLayout336.xml"/><Relationship Id="rId46" Type="http://schemas.openxmlformats.org/officeDocument/2006/relationships/slideLayout" Target="../slideLayouts/slideLayout344.xml"/><Relationship Id="rId20" Type="http://schemas.openxmlformats.org/officeDocument/2006/relationships/slideLayout" Target="../slideLayouts/slideLayout318.xml"/><Relationship Id="rId41" Type="http://schemas.openxmlformats.org/officeDocument/2006/relationships/slideLayout" Target="../slideLayouts/slideLayout339.xml"/><Relationship Id="rId54" Type="http://schemas.openxmlformats.org/officeDocument/2006/relationships/slideLayout" Target="../slideLayouts/slideLayout352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5" Type="http://schemas.openxmlformats.org/officeDocument/2006/relationships/slideLayout" Target="../slideLayouts/slideLayout313.xml"/><Relationship Id="rId23" Type="http://schemas.openxmlformats.org/officeDocument/2006/relationships/slideLayout" Target="../slideLayouts/slideLayout321.xml"/><Relationship Id="rId28" Type="http://schemas.openxmlformats.org/officeDocument/2006/relationships/slideLayout" Target="../slideLayouts/slideLayout326.xml"/><Relationship Id="rId36" Type="http://schemas.openxmlformats.org/officeDocument/2006/relationships/slideLayout" Target="../slideLayouts/slideLayout334.xml"/><Relationship Id="rId49" Type="http://schemas.openxmlformats.org/officeDocument/2006/relationships/slideLayout" Target="../slideLayouts/slideLayout347.xml"/><Relationship Id="rId57" Type="http://schemas.openxmlformats.org/officeDocument/2006/relationships/image" Target="../media/image1.png"/><Relationship Id="rId10" Type="http://schemas.openxmlformats.org/officeDocument/2006/relationships/slideLayout" Target="../slideLayouts/slideLayout308.xml"/><Relationship Id="rId31" Type="http://schemas.openxmlformats.org/officeDocument/2006/relationships/slideLayout" Target="../slideLayouts/slideLayout329.xml"/><Relationship Id="rId44" Type="http://schemas.openxmlformats.org/officeDocument/2006/relationships/slideLayout" Target="../slideLayouts/slideLayout342.xml"/><Relationship Id="rId52" Type="http://schemas.openxmlformats.org/officeDocument/2006/relationships/slideLayout" Target="../slideLayouts/slideLayout3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Master Layou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71E9D-0BF7-DA0E-7278-50E9B0995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93010-F41B-ECDA-CB62-6D856FECA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Element">
            <a:extLst>
              <a:ext uri="{FF2B5EF4-FFF2-40B4-BE49-F238E27FC236}">
                <a16:creationId xmlns:a16="http://schemas.microsoft.com/office/drawing/2014/main" id="{06C44655-90D3-CFC5-A208-ADA7C1ECD3B8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64CBEA-C99F-E716-C2DF-19C5C70EA2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3" y="1165860"/>
            <a:ext cx="11433977" cy="50976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189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821" r:id="rId4"/>
    <p:sldLayoutId id="2147483843" r:id="rId5"/>
    <p:sldLayoutId id="2147483654" r:id="rId6"/>
    <p:sldLayoutId id="2147483822" r:id="rId7"/>
    <p:sldLayoutId id="2147483656" r:id="rId8"/>
    <p:sldLayoutId id="2147483657" r:id="rId9"/>
    <p:sldLayoutId id="2147483658" r:id="rId10"/>
    <p:sldLayoutId id="2147483659" r:id="rId11"/>
    <p:sldLayoutId id="2147483845" r:id="rId12"/>
    <p:sldLayoutId id="2147483846" r:id="rId13"/>
    <p:sldLayoutId id="2147483797" r:id="rId14"/>
    <p:sldLayoutId id="2147483661" r:id="rId15"/>
    <p:sldLayoutId id="2147483796" r:id="rId16"/>
    <p:sldLayoutId id="2147483799" r:id="rId17"/>
    <p:sldLayoutId id="2147483802" r:id="rId18"/>
    <p:sldLayoutId id="2147483800" r:id="rId19"/>
    <p:sldLayoutId id="2147483801" r:id="rId20"/>
    <p:sldLayoutId id="2147483806" r:id="rId21"/>
    <p:sldLayoutId id="2147483807" r:id="rId22"/>
    <p:sldLayoutId id="2147483812" r:id="rId23"/>
    <p:sldLayoutId id="2147483665" r:id="rId24"/>
    <p:sldLayoutId id="2147483816" r:id="rId25"/>
    <p:sldLayoutId id="2147483662" r:id="rId26"/>
    <p:sldLayoutId id="2147483813" r:id="rId27"/>
    <p:sldLayoutId id="2147483817" r:id="rId28"/>
    <p:sldLayoutId id="2147483808" r:id="rId29"/>
    <p:sldLayoutId id="2147483810" r:id="rId30"/>
    <p:sldLayoutId id="2147483809" r:id="rId31"/>
    <p:sldLayoutId id="2147483811" r:id="rId32"/>
    <p:sldLayoutId id="2147483839" r:id="rId33"/>
    <p:sldLayoutId id="2147483829" r:id="rId34"/>
    <p:sldLayoutId id="2147483832" r:id="rId35"/>
    <p:sldLayoutId id="2147483837" r:id="rId36"/>
    <p:sldLayoutId id="2147483747" r:id="rId37"/>
    <p:sldLayoutId id="2147483673" r:id="rId38"/>
    <p:sldLayoutId id="2147483674" r:id="rId39"/>
    <p:sldLayoutId id="2147483842" r:id="rId40"/>
    <p:sldLayoutId id="2147483682" r:id="rId41"/>
    <p:sldLayoutId id="2147483683" r:id="rId42"/>
    <p:sldLayoutId id="2147483684" r:id="rId43"/>
    <p:sldLayoutId id="2147483685" r:id="rId44"/>
    <p:sldLayoutId id="2147483686" r:id="rId45"/>
    <p:sldLayoutId id="2147483687" r:id="rId46"/>
    <p:sldLayoutId id="2147483804" r:id="rId47"/>
    <p:sldLayoutId id="2147483824" r:id="rId48"/>
    <p:sldLayoutId id="2147483844" r:id="rId49"/>
    <p:sldLayoutId id="2147483749" r:id="rId50"/>
    <p:sldLayoutId id="2147483750" r:id="rId51"/>
    <p:sldLayoutId id="2147483751" r:id="rId52"/>
    <p:sldLayoutId id="2147483753" r:id="rId53"/>
    <p:sldLayoutId id="2147483795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600"/>
        </a:spcBef>
        <a:buFont typeface="HPE Graphik" pitchFamily="50" charset="0"/>
        <a:buChar char="—"/>
        <a:tabLst>
          <a:tab pos="266700" algn="l"/>
        </a:tabLst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>
          <a:tab pos="1436688" algn="l"/>
        </a:tabLst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95750" indent="-285750" algn="l" defTabSz="914400" rtl="0" eaLnBrk="1" latinLnBrk="0" hangingPunct="1">
        <a:lnSpc>
          <a:spcPct val="90000"/>
        </a:lnSpc>
        <a:spcBef>
          <a:spcPts val="600"/>
        </a:spcBef>
        <a:buClrTx/>
        <a:buFontTx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8" orient="horz" pos="2160">
          <p15:clr>
            <a:srgbClr val="F26B43"/>
          </p15:clr>
        </p15:guide>
        <p15:guide id="49" pos="3840">
          <p15:clr>
            <a:srgbClr val="F26B43"/>
          </p15:clr>
        </p15:guide>
        <p15:guide id="51" pos="236">
          <p15:clr>
            <a:srgbClr val="F26B43"/>
          </p15:clr>
        </p15:guide>
        <p15:guide id="52" pos="7439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orient="horz" pos="4128">
          <p15:clr>
            <a:srgbClr val="F26B43"/>
          </p15:clr>
        </p15:guide>
        <p15:guide id="55" orient="horz" pos="3812">
          <p15:clr>
            <a:srgbClr val="F26B43"/>
          </p15:clr>
        </p15:guide>
        <p15:guide id="57" orient="horz" pos="1210">
          <p15:clr>
            <a:srgbClr val="F26B43"/>
          </p15:clr>
        </p15:guide>
        <p15:guide id="63" pos="796">
          <p15:clr>
            <a:srgbClr val="F26B43"/>
          </p15:clr>
        </p15:guide>
        <p15:guide id="64" pos="844">
          <p15:clr>
            <a:srgbClr val="F26B43"/>
          </p15:clr>
        </p15:guide>
        <p15:guide id="65" pos="1400">
          <p15:clr>
            <a:srgbClr val="F26B43"/>
          </p15:clr>
        </p15:guide>
        <p15:guide id="66" pos="1444">
          <p15:clr>
            <a:srgbClr val="F26B43"/>
          </p15:clr>
        </p15:guide>
        <p15:guide id="67" pos="2004">
          <p15:clr>
            <a:srgbClr val="F26B43"/>
          </p15:clr>
        </p15:guide>
        <p15:guide id="68" pos="2048">
          <p15:clr>
            <a:srgbClr val="F26B43"/>
          </p15:clr>
        </p15:guide>
        <p15:guide id="69" pos="2608">
          <p15:clr>
            <a:srgbClr val="F26B43"/>
          </p15:clr>
        </p15:guide>
        <p15:guide id="70" pos="2656">
          <p15:clr>
            <a:srgbClr val="F26B43"/>
          </p15:clr>
        </p15:guide>
        <p15:guide id="71" pos="3208">
          <p15:clr>
            <a:srgbClr val="F26B43"/>
          </p15:clr>
        </p15:guide>
        <p15:guide id="72" pos="3256">
          <p15:clr>
            <a:srgbClr val="F26B43"/>
          </p15:clr>
        </p15:guide>
        <p15:guide id="73" pos="3812">
          <p15:clr>
            <a:srgbClr val="F26B43"/>
          </p15:clr>
        </p15:guide>
        <p15:guide id="74" pos="3864">
          <p15:clr>
            <a:srgbClr val="F26B43"/>
          </p15:clr>
        </p15:guide>
        <p15:guide id="75" pos="4416">
          <p15:clr>
            <a:srgbClr val="F26B43"/>
          </p15:clr>
        </p15:guide>
        <p15:guide id="76" pos="4468">
          <p15:clr>
            <a:srgbClr val="F26B43"/>
          </p15:clr>
        </p15:guide>
        <p15:guide id="77" pos="5020">
          <p15:clr>
            <a:srgbClr val="F26B43"/>
          </p15:clr>
        </p15:guide>
        <p15:guide id="78" pos="5068">
          <p15:clr>
            <a:srgbClr val="F26B43"/>
          </p15:clr>
        </p15:guide>
        <p15:guide id="79" pos="5624">
          <p15:clr>
            <a:srgbClr val="F26B43"/>
          </p15:clr>
        </p15:guide>
        <p15:guide id="80" pos="5676">
          <p15:clr>
            <a:srgbClr val="F26B43"/>
          </p15:clr>
        </p15:guide>
        <p15:guide id="81" pos="6232">
          <p15:clr>
            <a:srgbClr val="F26B43"/>
          </p15:clr>
        </p15:guide>
        <p15:guide id="82" pos="6280">
          <p15:clr>
            <a:srgbClr val="F26B43"/>
          </p15:clr>
        </p15:guide>
        <p15:guide id="83" pos="6832">
          <p15:clr>
            <a:srgbClr val="F26B43"/>
          </p15:clr>
        </p15:guide>
        <p15:guide id="84" pos="6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Master Layou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71E9D-0BF7-DA0E-7278-50E9B0995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93010-F41B-ECDA-CB62-6D856FECA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Element">
            <a:extLst>
              <a:ext uri="{FF2B5EF4-FFF2-40B4-BE49-F238E27FC236}">
                <a16:creationId xmlns:a16="http://schemas.microsoft.com/office/drawing/2014/main" id="{06C44655-90D3-CFC5-A208-ADA7C1ECD3B8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64CBEA-C99F-E716-C2DF-19C5C70EA2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3" y="1165860"/>
            <a:ext cx="11433977" cy="50976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8304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67" r:id="rId19"/>
    <p:sldLayoutId id="2147483868" r:id="rId20"/>
    <p:sldLayoutId id="2147483869" r:id="rId21"/>
    <p:sldLayoutId id="2147483870" r:id="rId22"/>
    <p:sldLayoutId id="2147483871" r:id="rId23"/>
    <p:sldLayoutId id="2147483872" r:id="rId24"/>
    <p:sldLayoutId id="2147483873" r:id="rId25"/>
    <p:sldLayoutId id="2147483874" r:id="rId26"/>
    <p:sldLayoutId id="2147483875" r:id="rId27"/>
    <p:sldLayoutId id="2147483876" r:id="rId28"/>
    <p:sldLayoutId id="2147483877" r:id="rId29"/>
    <p:sldLayoutId id="2147483878" r:id="rId30"/>
    <p:sldLayoutId id="2147483879" r:id="rId31"/>
    <p:sldLayoutId id="2147483880" r:id="rId32"/>
    <p:sldLayoutId id="2147483881" r:id="rId33"/>
    <p:sldLayoutId id="2147483882" r:id="rId34"/>
    <p:sldLayoutId id="2147483883" r:id="rId35"/>
    <p:sldLayoutId id="2147483884" r:id="rId36"/>
    <p:sldLayoutId id="2147483885" r:id="rId37"/>
    <p:sldLayoutId id="2147483886" r:id="rId38"/>
    <p:sldLayoutId id="2147483887" r:id="rId39"/>
    <p:sldLayoutId id="2147483888" r:id="rId40"/>
    <p:sldLayoutId id="2147483889" r:id="rId41"/>
    <p:sldLayoutId id="2147483890" r:id="rId42"/>
    <p:sldLayoutId id="2147483891" r:id="rId43"/>
    <p:sldLayoutId id="2147483892" r:id="rId44"/>
    <p:sldLayoutId id="2147483893" r:id="rId45"/>
    <p:sldLayoutId id="2147483894" r:id="rId46"/>
    <p:sldLayoutId id="2147483895" r:id="rId47"/>
    <p:sldLayoutId id="2147483896" r:id="rId48"/>
    <p:sldLayoutId id="2147483897" r:id="rId49"/>
    <p:sldLayoutId id="2147483898" r:id="rId50"/>
    <p:sldLayoutId id="2147483899" r:id="rId51"/>
    <p:sldLayoutId id="2147483900" r:id="rId52"/>
    <p:sldLayoutId id="2147483901" r:id="rId53"/>
    <p:sldLayoutId id="2147483902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600"/>
        </a:spcBef>
        <a:buFont typeface="HPE Graphik" pitchFamily="50" charset="0"/>
        <a:buChar char="—"/>
        <a:tabLst>
          <a:tab pos="266700" algn="l"/>
        </a:tabLst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>
          <a:tab pos="1436688" algn="l"/>
        </a:tabLst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84262" indent="-285750" algn="l" defTabSz="914400" rtl="0" eaLnBrk="1" latinLnBrk="0" hangingPunct="1">
        <a:lnSpc>
          <a:spcPct val="9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8" orient="horz" pos="2160">
          <p15:clr>
            <a:srgbClr val="F26B43"/>
          </p15:clr>
        </p15:guide>
        <p15:guide id="49" pos="3840">
          <p15:clr>
            <a:srgbClr val="F26B43"/>
          </p15:clr>
        </p15:guide>
        <p15:guide id="51" pos="236">
          <p15:clr>
            <a:srgbClr val="F26B43"/>
          </p15:clr>
        </p15:guide>
        <p15:guide id="52" pos="7439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orient="horz" pos="4128">
          <p15:clr>
            <a:srgbClr val="F26B43"/>
          </p15:clr>
        </p15:guide>
        <p15:guide id="55" orient="horz" pos="3812">
          <p15:clr>
            <a:srgbClr val="F26B43"/>
          </p15:clr>
        </p15:guide>
        <p15:guide id="57" orient="horz" pos="1210">
          <p15:clr>
            <a:srgbClr val="F26B43"/>
          </p15:clr>
        </p15:guide>
        <p15:guide id="63" pos="796">
          <p15:clr>
            <a:srgbClr val="F26B43"/>
          </p15:clr>
        </p15:guide>
        <p15:guide id="64" pos="844">
          <p15:clr>
            <a:srgbClr val="F26B43"/>
          </p15:clr>
        </p15:guide>
        <p15:guide id="65" pos="1400">
          <p15:clr>
            <a:srgbClr val="F26B43"/>
          </p15:clr>
        </p15:guide>
        <p15:guide id="66" pos="1444">
          <p15:clr>
            <a:srgbClr val="F26B43"/>
          </p15:clr>
        </p15:guide>
        <p15:guide id="67" pos="2004">
          <p15:clr>
            <a:srgbClr val="F26B43"/>
          </p15:clr>
        </p15:guide>
        <p15:guide id="68" pos="2048">
          <p15:clr>
            <a:srgbClr val="F26B43"/>
          </p15:clr>
        </p15:guide>
        <p15:guide id="69" pos="2608">
          <p15:clr>
            <a:srgbClr val="F26B43"/>
          </p15:clr>
        </p15:guide>
        <p15:guide id="70" pos="2656">
          <p15:clr>
            <a:srgbClr val="F26B43"/>
          </p15:clr>
        </p15:guide>
        <p15:guide id="71" pos="3208">
          <p15:clr>
            <a:srgbClr val="F26B43"/>
          </p15:clr>
        </p15:guide>
        <p15:guide id="72" pos="3256">
          <p15:clr>
            <a:srgbClr val="F26B43"/>
          </p15:clr>
        </p15:guide>
        <p15:guide id="73" pos="3812">
          <p15:clr>
            <a:srgbClr val="F26B43"/>
          </p15:clr>
        </p15:guide>
        <p15:guide id="74" pos="3864">
          <p15:clr>
            <a:srgbClr val="F26B43"/>
          </p15:clr>
        </p15:guide>
        <p15:guide id="75" pos="4416">
          <p15:clr>
            <a:srgbClr val="F26B43"/>
          </p15:clr>
        </p15:guide>
        <p15:guide id="76" pos="4468">
          <p15:clr>
            <a:srgbClr val="F26B43"/>
          </p15:clr>
        </p15:guide>
        <p15:guide id="77" pos="5020">
          <p15:clr>
            <a:srgbClr val="F26B43"/>
          </p15:clr>
        </p15:guide>
        <p15:guide id="78" pos="5068">
          <p15:clr>
            <a:srgbClr val="F26B43"/>
          </p15:clr>
        </p15:guide>
        <p15:guide id="79" pos="5624">
          <p15:clr>
            <a:srgbClr val="F26B43"/>
          </p15:clr>
        </p15:guide>
        <p15:guide id="80" pos="5676">
          <p15:clr>
            <a:srgbClr val="F26B43"/>
          </p15:clr>
        </p15:guide>
        <p15:guide id="81" pos="6232">
          <p15:clr>
            <a:srgbClr val="F26B43"/>
          </p15:clr>
        </p15:guide>
        <p15:guide id="82" pos="6280">
          <p15:clr>
            <a:srgbClr val="F26B43"/>
          </p15:clr>
        </p15:guide>
        <p15:guide id="83" pos="6832">
          <p15:clr>
            <a:srgbClr val="F26B43"/>
          </p15:clr>
        </p15:guide>
        <p15:guide id="84" pos="68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0"/>
              </a:buBlip>
              <a:defRPr sz="2000" kern="1200" cap="all" normalizeH="0" baseline="10000">
                <a:solidFill>
                  <a:schemeClr val="tx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6324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  <p:sldLayoutId id="2147483918" r:id="rId15"/>
    <p:sldLayoutId id="2147483919" r:id="rId16"/>
    <p:sldLayoutId id="2147483920" r:id="rId17"/>
    <p:sldLayoutId id="2147483921" r:id="rId18"/>
    <p:sldLayoutId id="2147483922" r:id="rId19"/>
    <p:sldLayoutId id="2147483923" r:id="rId20"/>
    <p:sldLayoutId id="2147483924" r:id="rId21"/>
    <p:sldLayoutId id="2147483925" r:id="rId22"/>
    <p:sldLayoutId id="2147483926" r:id="rId23"/>
    <p:sldLayoutId id="2147483927" r:id="rId24"/>
    <p:sldLayoutId id="2147483928" r:id="rId25"/>
    <p:sldLayoutId id="2147483929" r:id="rId26"/>
    <p:sldLayoutId id="2147483930" r:id="rId27"/>
    <p:sldLayoutId id="2147483931" r:id="rId28"/>
    <p:sldLayoutId id="2147483932" r:id="rId29"/>
    <p:sldLayoutId id="2147483933" r:id="rId30"/>
    <p:sldLayoutId id="2147483934" r:id="rId31"/>
    <p:sldLayoutId id="2147483935" r:id="rId32"/>
    <p:sldLayoutId id="2147483936" r:id="rId33"/>
    <p:sldLayoutId id="2147483937" r:id="rId34"/>
    <p:sldLayoutId id="2147483938" r:id="rId35"/>
    <p:sldLayoutId id="2147483939" r:id="rId36"/>
    <p:sldLayoutId id="2147483940" r:id="rId37"/>
    <p:sldLayoutId id="2147483941" r:id="rId38"/>
    <p:sldLayoutId id="2147483942" r:id="rId39"/>
    <p:sldLayoutId id="2147483943" r:id="rId40"/>
    <p:sldLayoutId id="2147483944" r:id="rId41"/>
    <p:sldLayoutId id="2147483945" r:id="rId42"/>
    <p:sldLayoutId id="2147483946" r:id="rId43"/>
    <p:sldLayoutId id="2147483947" r:id="rId44"/>
    <p:sldLayoutId id="2147483948" r:id="rId45"/>
    <p:sldLayoutId id="2147483949" r:id="rId46"/>
    <p:sldLayoutId id="2147483950" r:id="rId47"/>
    <p:sldLayoutId id="2147483951" r:id="rId4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>
          <p15:clr>
            <a:srgbClr val="F26B43"/>
          </p15:clr>
        </p15:guide>
        <p15:guide id="3" pos="240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84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1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9518396" cy="77724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/>
          <a:p>
            <a:r>
              <a:rPr lang="en-US"/>
              <a:t>Title, subhead, and bullets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5950AE-9830-5322-6244-0AEE95AB67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0874"/>
            <a:ext cx="9518396" cy="41306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49564D0-C251-757A-B18A-7A254DEC59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 algn="r"/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61ECA33-8429-64B6-BDB1-856795EB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05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  <p:sldLayoutId id="2147483973" r:id="rId18"/>
    <p:sldLayoutId id="2147483974" r:id="rId19"/>
    <p:sldLayoutId id="2147483975" r:id="rId20"/>
    <p:sldLayoutId id="2147483976" r:id="rId21"/>
    <p:sldLayoutId id="2147483977" r:id="rId22"/>
    <p:sldLayoutId id="2147483978" r:id="rId23"/>
    <p:sldLayoutId id="2147483979" r:id="rId24"/>
    <p:sldLayoutId id="2147483980" r:id="rId25"/>
    <p:sldLayoutId id="2147483981" r:id="rId26"/>
    <p:sldLayoutId id="2147483982" r:id="rId27"/>
    <p:sldLayoutId id="2147483983" r:id="rId28"/>
    <p:sldLayoutId id="2147483984" r:id="rId29"/>
    <p:sldLayoutId id="2147483985" r:id="rId30"/>
    <p:sldLayoutId id="2147483986" r:id="rId31"/>
    <p:sldLayoutId id="2147483987" r:id="rId32"/>
    <p:sldLayoutId id="2147483988" r:id="rId33"/>
    <p:sldLayoutId id="2147483989" r:id="rId34"/>
    <p:sldLayoutId id="2147483990" r:id="rId35"/>
    <p:sldLayoutId id="2147483991" r:id="rId36"/>
    <p:sldLayoutId id="2147483992" r:id="rId3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bg1"/>
          </a:solidFill>
          <a:latin typeface="HPE Graphik Semibold" pitchFamily="50" charset="0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HPE Graphik Light" pitchFamily="50" charset="0"/>
          <a:ea typeface="+mn-ea"/>
          <a:cs typeface="+mn-cs"/>
        </a:defRPr>
      </a:lvl1pPr>
      <a:lvl2pPr marL="0" indent="-320040" algn="l" defTabSz="914400" rtl="0" eaLnBrk="1" latinLnBrk="0" hangingPunct="1">
        <a:lnSpc>
          <a:spcPct val="100000"/>
        </a:lnSpc>
        <a:spcBef>
          <a:spcPts val="500"/>
        </a:spcBef>
        <a:buFont typeface="Graphik Light" panose="020B0403030202060203" pitchFamily="34" charset="0"/>
        <a:buChar char="—"/>
        <a:defRPr sz="1800" kern="1200">
          <a:solidFill>
            <a:schemeClr val="bg1"/>
          </a:solidFill>
          <a:latin typeface="HPE Graphik Light" pitchFamily="50" charset="0"/>
          <a:ea typeface="+mn-ea"/>
          <a:cs typeface="+mn-cs"/>
        </a:defRPr>
      </a:lvl2pPr>
      <a:lvl3pPr marL="641350" indent="-319088" algn="l" defTabSz="914400" rtl="0" eaLnBrk="1" latinLnBrk="0" hangingPunct="1">
        <a:lnSpc>
          <a:spcPct val="100000"/>
        </a:lnSpc>
        <a:spcBef>
          <a:spcPts val="500"/>
        </a:spcBef>
        <a:buFont typeface="Graphik Light" panose="020B0403030202060203" pitchFamily="34" charset="0"/>
        <a:buChar char="—"/>
        <a:tabLst/>
        <a:defRPr sz="1800" kern="1200">
          <a:solidFill>
            <a:schemeClr val="bg1"/>
          </a:solidFill>
          <a:latin typeface="HPE Graphik Light" pitchFamily="50" charset="0"/>
          <a:ea typeface="+mn-ea"/>
          <a:cs typeface="+mn-cs"/>
        </a:defRPr>
      </a:lvl3pPr>
      <a:lvl4pPr marL="962025" indent="-319088" algn="l" defTabSz="914400" rtl="0" eaLnBrk="1" latinLnBrk="0" hangingPunct="1">
        <a:lnSpc>
          <a:spcPct val="100000"/>
        </a:lnSpc>
        <a:spcBef>
          <a:spcPts val="500"/>
        </a:spcBef>
        <a:buFont typeface="Graphik Light" panose="020B0403030202060203" pitchFamily="34" charset="0"/>
        <a:buChar char="—"/>
        <a:tabLst/>
        <a:defRPr sz="1800" kern="1200">
          <a:solidFill>
            <a:schemeClr val="bg1"/>
          </a:solidFill>
          <a:latin typeface="HPE Graphik Light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9" pos="236">
          <p15:clr>
            <a:srgbClr val="F26B43"/>
          </p15:clr>
        </p15:guide>
        <p15:guide id="50" pos="7439">
          <p15:clr>
            <a:srgbClr val="F26B43"/>
          </p15:clr>
        </p15:guide>
        <p15:guide id="51" orient="horz" pos="236">
          <p15:clr>
            <a:srgbClr val="F26B43"/>
          </p15:clr>
        </p15:guide>
        <p15:guide id="52" orient="horz" pos="4128">
          <p15:clr>
            <a:srgbClr val="F26B43"/>
          </p15:clr>
        </p15:guide>
        <p15:guide id="53" orient="horz" pos="3812">
          <p15:clr>
            <a:srgbClr val="F26B43"/>
          </p15:clr>
        </p15:guide>
        <p15:guide id="55" orient="horz" pos="1210">
          <p15:clr>
            <a:srgbClr val="F26B43"/>
          </p15:clr>
        </p15:guide>
        <p15:guide id="61" pos="796">
          <p15:clr>
            <a:srgbClr val="F26B43"/>
          </p15:clr>
        </p15:guide>
        <p15:guide id="62" pos="844">
          <p15:clr>
            <a:srgbClr val="F26B43"/>
          </p15:clr>
        </p15:guide>
        <p15:guide id="63" pos="1400">
          <p15:clr>
            <a:srgbClr val="F26B43"/>
          </p15:clr>
        </p15:guide>
        <p15:guide id="64" pos="1444">
          <p15:clr>
            <a:srgbClr val="F26B43"/>
          </p15:clr>
        </p15:guide>
        <p15:guide id="65" pos="2004">
          <p15:clr>
            <a:srgbClr val="F26B43"/>
          </p15:clr>
        </p15:guide>
        <p15:guide id="66" pos="2048">
          <p15:clr>
            <a:srgbClr val="F26B43"/>
          </p15:clr>
        </p15:guide>
        <p15:guide id="67" pos="2608">
          <p15:clr>
            <a:srgbClr val="F26B43"/>
          </p15:clr>
        </p15:guide>
        <p15:guide id="68" pos="2656">
          <p15:clr>
            <a:srgbClr val="F26B43"/>
          </p15:clr>
        </p15:guide>
        <p15:guide id="69" pos="3208">
          <p15:clr>
            <a:srgbClr val="F26B43"/>
          </p15:clr>
        </p15:guide>
        <p15:guide id="70" pos="3256">
          <p15:clr>
            <a:srgbClr val="F26B43"/>
          </p15:clr>
        </p15:guide>
        <p15:guide id="71" pos="3812">
          <p15:clr>
            <a:srgbClr val="F26B43"/>
          </p15:clr>
        </p15:guide>
        <p15:guide id="72" pos="3864">
          <p15:clr>
            <a:srgbClr val="F26B43"/>
          </p15:clr>
        </p15:guide>
        <p15:guide id="73" pos="4416">
          <p15:clr>
            <a:srgbClr val="F26B43"/>
          </p15:clr>
        </p15:guide>
        <p15:guide id="74" pos="4468">
          <p15:clr>
            <a:srgbClr val="F26B43"/>
          </p15:clr>
        </p15:guide>
        <p15:guide id="75" pos="5020">
          <p15:clr>
            <a:srgbClr val="F26B43"/>
          </p15:clr>
        </p15:guide>
        <p15:guide id="76" pos="5068">
          <p15:clr>
            <a:srgbClr val="F26B43"/>
          </p15:clr>
        </p15:guide>
        <p15:guide id="77" pos="5624">
          <p15:clr>
            <a:srgbClr val="F26B43"/>
          </p15:clr>
        </p15:guide>
        <p15:guide id="78" pos="5676">
          <p15:clr>
            <a:srgbClr val="F26B43"/>
          </p15:clr>
        </p15:guide>
        <p15:guide id="79" pos="6232">
          <p15:clr>
            <a:srgbClr val="F26B43"/>
          </p15:clr>
        </p15:guide>
        <p15:guide id="80" pos="6280">
          <p15:clr>
            <a:srgbClr val="F26B43"/>
          </p15:clr>
        </p15:guide>
        <p15:guide id="81" pos="6832">
          <p15:clr>
            <a:srgbClr val="F26B43"/>
          </p15:clr>
        </p15:guide>
        <p15:guide id="82" pos="6880">
          <p15:clr>
            <a:srgbClr val="F26B43"/>
          </p15:clr>
        </p15:guide>
        <p15:guide id="83" orient="horz" pos="2160">
          <p15:clr>
            <a:srgbClr val="F26B43"/>
          </p15:clr>
        </p15:guide>
        <p15:guide id="84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3"/>
              </a:buBlip>
              <a:defRPr sz="2000" kern="1200" cap="all" normalizeH="0" baseline="10000">
                <a:solidFill>
                  <a:schemeClr val="tx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6085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  <p:sldLayoutId id="2147484005" r:id="rId12"/>
    <p:sldLayoutId id="2147484006" r:id="rId13"/>
    <p:sldLayoutId id="2147484007" r:id="rId14"/>
    <p:sldLayoutId id="2147484008" r:id="rId15"/>
    <p:sldLayoutId id="2147484009" r:id="rId16"/>
    <p:sldLayoutId id="2147484010" r:id="rId17"/>
    <p:sldLayoutId id="2147484011" r:id="rId18"/>
    <p:sldLayoutId id="2147484012" r:id="rId19"/>
    <p:sldLayoutId id="2147484013" r:id="rId20"/>
    <p:sldLayoutId id="2147484014" r:id="rId21"/>
    <p:sldLayoutId id="2147484015" r:id="rId22"/>
    <p:sldLayoutId id="2147484016" r:id="rId23"/>
    <p:sldLayoutId id="2147484017" r:id="rId24"/>
    <p:sldLayoutId id="2147484018" r:id="rId25"/>
    <p:sldLayoutId id="2147484019" r:id="rId26"/>
    <p:sldLayoutId id="2147484020" r:id="rId27"/>
    <p:sldLayoutId id="2147484021" r:id="rId28"/>
    <p:sldLayoutId id="2147484022" r:id="rId29"/>
    <p:sldLayoutId id="2147484023" r:id="rId30"/>
    <p:sldLayoutId id="2147484024" r:id="rId31"/>
    <p:sldLayoutId id="2147484025" r:id="rId32"/>
    <p:sldLayoutId id="2147484026" r:id="rId33"/>
    <p:sldLayoutId id="2147484027" r:id="rId34"/>
    <p:sldLayoutId id="2147484028" r:id="rId35"/>
    <p:sldLayoutId id="2147484029" r:id="rId36"/>
    <p:sldLayoutId id="2147484030" r:id="rId37"/>
    <p:sldLayoutId id="2147484031" r:id="rId38"/>
    <p:sldLayoutId id="2147484032" r:id="rId39"/>
    <p:sldLayoutId id="2147484033" r:id="rId40"/>
    <p:sldLayoutId id="2147484034" r:id="rId41"/>
    <p:sldLayoutId id="2147484035" r:id="rId42"/>
    <p:sldLayoutId id="2147484036" r:id="rId43"/>
    <p:sldLayoutId id="2147484037" r:id="rId44"/>
    <p:sldLayoutId id="2147484038" r:id="rId45"/>
    <p:sldLayoutId id="2147484039" r:id="rId46"/>
    <p:sldLayoutId id="2147484040" r:id="rId47"/>
    <p:sldLayoutId id="2147484041" r:id="rId48"/>
    <p:sldLayoutId id="2147484101" r:id="rId49"/>
    <p:sldLayoutId id="2147484042" r:id="rId50"/>
    <p:sldLayoutId id="2147484043" r:id="rId5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>
          <p15:clr>
            <a:srgbClr val="F26B43"/>
          </p15:clr>
        </p15:guide>
        <p15:guide id="3" pos="240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84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1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Master Layou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64CBEA-C99F-E716-C2DF-19C5C70EA2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3" y="1165860"/>
            <a:ext cx="11433977" cy="50976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Element 3">
            <a:extLst>
              <a:ext uri="{FF2B5EF4-FFF2-40B4-BE49-F238E27FC236}">
                <a16:creationId xmlns:a16="http://schemas.microsoft.com/office/drawing/2014/main" id="{06C44655-90D3-CFC5-A208-ADA7C1ECD3B8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71E9D-0BF7-DA0E-7278-50E9B0995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93010-F41B-ECDA-CB62-6D856FECA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015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  <p:sldLayoutId id="2147484056" r:id="rId11"/>
    <p:sldLayoutId id="2147484057" r:id="rId12"/>
    <p:sldLayoutId id="2147484058" r:id="rId13"/>
    <p:sldLayoutId id="2147484059" r:id="rId14"/>
    <p:sldLayoutId id="2147484060" r:id="rId15"/>
    <p:sldLayoutId id="2147484061" r:id="rId16"/>
    <p:sldLayoutId id="2147484062" r:id="rId17"/>
    <p:sldLayoutId id="2147484063" r:id="rId18"/>
    <p:sldLayoutId id="2147484064" r:id="rId19"/>
    <p:sldLayoutId id="2147484065" r:id="rId20"/>
    <p:sldLayoutId id="2147484066" r:id="rId21"/>
    <p:sldLayoutId id="2147484067" r:id="rId22"/>
    <p:sldLayoutId id="2147484068" r:id="rId23"/>
    <p:sldLayoutId id="2147484069" r:id="rId24"/>
    <p:sldLayoutId id="2147484070" r:id="rId25"/>
    <p:sldLayoutId id="2147484071" r:id="rId26"/>
    <p:sldLayoutId id="2147484072" r:id="rId27"/>
    <p:sldLayoutId id="2147484073" r:id="rId28"/>
    <p:sldLayoutId id="2147484074" r:id="rId29"/>
    <p:sldLayoutId id="2147484075" r:id="rId30"/>
    <p:sldLayoutId id="2147484076" r:id="rId31"/>
    <p:sldLayoutId id="2147484077" r:id="rId32"/>
    <p:sldLayoutId id="2147484078" r:id="rId33"/>
    <p:sldLayoutId id="2147484079" r:id="rId34"/>
    <p:sldLayoutId id="2147484080" r:id="rId35"/>
    <p:sldLayoutId id="2147484081" r:id="rId36"/>
    <p:sldLayoutId id="2147484082" r:id="rId37"/>
    <p:sldLayoutId id="2147484083" r:id="rId38"/>
    <p:sldLayoutId id="2147484084" r:id="rId39"/>
    <p:sldLayoutId id="2147484085" r:id="rId40"/>
    <p:sldLayoutId id="2147484086" r:id="rId41"/>
    <p:sldLayoutId id="2147484087" r:id="rId42"/>
    <p:sldLayoutId id="2147484088" r:id="rId43"/>
    <p:sldLayoutId id="2147484089" r:id="rId44"/>
    <p:sldLayoutId id="2147484090" r:id="rId45"/>
    <p:sldLayoutId id="2147484091" r:id="rId46"/>
    <p:sldLayoutId id="2147484092" r:id="rId47"/>
    <p:sldLayoutId id="2147484093" r:id="rId48"/>
    <p:sldLayoutId id="2147484094" r:id="rId49"/>
    <p:sldLayoutId id="2147484095" r:id="rId50"/>
    <p:sldLayoutId id="2147484096" r:id="rId51"/>
    <p:sldLayoutId id="2147484097" r:id="rId52"/>
    <p:sldLayoutId id="2147484098" r:id="rId53"/>
    <p:sldLayoutId id="2147484099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600"/>
        </a:spcBef>
        <a:buFont typeface="HPE Graphik" pitchFamily="50" charset="0"/>
        <a:buChar char="—"/>
        <a:tabLst>
          <a:tab pos="266700" algn="l"/>
        </a:tabLst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>
          <a:tab pos="1436688" algn="l"/>
        </a:tabLst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95750" indent="-285750" algn="l" defTabSz="914400" rtl="0" eaLnBrk="1" latinLnBrk="0" hangingPunct="1">
        <a:lnSpc>
          <a:spcPct val="90000"/>
        </a:lnSpc>
        <a:spcBef>
          <a:spcPts val="600"/>
        </a:spcBef>
        <a:buClrTx/>
        <a:buFontTx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8" orient="horz" pos="2160">
          <p15:clr>
            <a:srgbClr val="F26B43"/>
          </p15:clr>
        </p15:guide>
        <p15:guide id="49" pos="3840">
          <p15:clr>
            <a:srgbClr val="F26B43"/>
          </p15:clr>
        </p15:guide>
        <p15:guide id="51" pos="236">
          <p15:clr>
            <a:srgbClr val="F26B43"/>
          </p15:clr>
        </p15:guide>
        <p15:guide id="52" pos="7439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orient="horz" pos="4128">
          <p15:clr>
            <a:srgbClr val="F26B43"/>
          </p15:clr>
        </p15:guide>
        <p15:guide id="55" orient="horz" pos="3812">
          <p15:clr>
            <a:srgbClr val="F26B43"/>
          </p15:clr>
        </p15:guide>
        <p15:guide id="57" orient="horz" pos="1210">
          <p15:clr>
            <a:srgbClr val="F26B43"/>
          </p15:clr>
        </p15:guide>
        <p15:guide id="63" pos="796">
          <p15:clr>
            <a:srgbClr val="F26B43"/>
          </p15:clr>
        </p15:guide>
        <p15:guide id="64" pos="844">
          <p15:clr>
            <a:srgbClr val="F26B43"/>
          </p15:clr>
        </p15:guide>
        <p15:guide id="65" pos="1400">
          <p15:clr>
            <a:srgbClr val="F26B43"/>
          </p15:clr>
        </p15:guide>
        <p15:guide id="66" pos="1444">
          <p15:clr>
            <a:srgbClr val="F26B43"/>
          </p15:clr>
        </p15:guide>
        <p15:guide id="67" pos="2004">
          <p15:clr>
            <a:srgbClr val="F26B43"/>
          </p15:clr>
        </p15:guide>
        <p15:guide id="68" pos="2048">
          <p15:clr>
            <a:srgbClr val="F26B43"/>
          </p15:clr>
        </p15:guide>
        <p15:guide id="69" pos="2608">
          <p15:clr>
            <a:srgbClr val="F26B43"/>
          </p15:clr>
        </p15:guide>
        <p15:guide id="70" pos="2656">
          <p15:clr>
            <a:srgbClr val="F26B43"/>
          </p15:clr>
        </p15:guide>
        <p15:guide id="71" pos="3208">
          <p15:clr>
            <a:srgbClr val="F26B43"/>
          </p15:clr>
        </p15:guide>
        <p15:guide id="72" pos="3256">
          <p15:clr>
            <a:srgbClr val="F26B43"/>
          </p15:clr>
        </p15:guide>
        <p15:guide id="73" pos="3812">
          <p15:clr>
            <a:srgbClr val="F26B43"/>
          </p15:clr>
        </p15:guide>
        <p15:guide id="74" pos="3864">
          <p15:clr>
            <a:srgbClr val="F26B43"/>
          </p15:clr>
        </p15:guide>
        <p15:guide id="75" pos="4416">
          <p15:clr>
            <a:srgbClr val="F26B43"/>
          </p15:clr>
        </p15:guide>
        <p15:guide id="76" pos="4468">
          <p15:clr>
            <a:srgbClr val="F26B43"/>
          </p15:clr>
        </p15:guide>
        <p15:guide id="77" pos="5020">
          <p15:clr>
            <a:srgbClr val="F26B43"/>
          </p15:clr>
        </p15:guide>
        <p15:guide id="78" pos="5068">
          <p15:clr>
            <a:srgbClr val="F26B43"/>
          </p15:clr>
        </p15:guide>
        <p15:guide id="79" pos="5624">
          <p15:clr>
            <a:srgbClr val="F26B43"/>
          </p15:clr>
        </p15:guide>
        <p15:guide id="80" pos="5676">
          <p15:clr>
            <a:srgbClr val="F26B43"/>
          </p15:clr>
        </p15:guide>
        <p15:guide id="81" pos="6232">
          <p15:clr>
            <a:srgbClr val="F26B43"/>
          </p15:clr>
        </p15:guide>
        <p15:guide id="82" pos="6280">
          <p15:clr>
            <a:srgbClr val="F26B43"/>
          </p15:clr>
        </p15:guide>
        <p15:guide id="83" pos="6832">
          <p15:clr>
            <a:srgbClr val="F26B43"/>
          </p15:clr>
        </p15:guide>
        <p15:guide id="84" pos="688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Master Layou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71E9D-0BF7-DA0E-7278-50E9B0995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93010-F41B-ECDA-CB62-6D856FECA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Element">
            <a:extLst>
              <a:ext uri="{FF2B5EF4-FFF2-40B4-BE49-F238E27FC236}">
                <a16:creationId xmlns:a16="http://schemas.microsoft.com/office/drawing/2014/main" id="{06C44655-90D3-CFC5-A208-ADA7C1ECD3B8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64CBEA-C99F-E716-C2DF-19C5C70EA2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3" y="1165860"/>
            <a:ext cx="11433977" cy="50976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8114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05" r:id="rId3"/>
    <p:sldLayoutId id="2147484106" r:id="rId4"/>
    <p:sldLayoutId id="2147484107" r:id="rId5"/>
    <p:sldLayoutId id="2147484108" r:id="rId6"/>
    <p:sldLayoutId id="2147484109" r:id="rId7"/>
    <p:sldLayoutId id="2147484110" r:id="rId8"/>
    <p:sldLayoutId id="2147484111" r:id="rId9"/>
    <p:sldLayoutId id="2147484112" r:id="rId10"/>
    <p:sldLayoutId id="2147484113" r:id="rId11"/>
    <p:sldLayoutId id="2147484114" r:id="rId12"/>
    <p:sldLayoutId id="2147484115" r:id="rId13"/>
    <p:sldLayoutId id="2147484116" r:id="rId14"/>
    <p:sldLayoutId id="2147484117" r:id="rId15"/>
    <p:sldLayoutId id="2147484118" r:id="rId16"/>
    <p:sldLayoutId id="2147484119" r:id="rId17"/>
    <p:sldLayoutId id="2147484120" r:id="rId18"/>
    <p:sldLayoutId id="2147484121" r:id="rId19"/>
    <p:sldLayoutId id="2147484122" r:id="rId20"/>
    <p:sldLayoutId id="2147484123" r:id="rId21"/>
    <p:sldLayoutId id="2147484124" r:id="rId22"/>
    <p:sldLayoutId id="2147484125" r:id="rId23"/>
    <p:sldLayoutId id="2147484126" r:id="rId24"/>
    <p:sldLayoutId id="2147484127" r:id="rId25"/>
    <p:sldLayoutId id="2147484128" r:id="rId26"/>
    <p:sldLayoutId id="2147484129" r:id="rId27"/>
    <p:sldLayoutId id="2147484130" r:id="rId28"/>
    <p:sldLayoutId id="2147484131" r:id="rId29"/>
    <p:sldLayoutId id="2147484132" r:id="rId30"/>
    <p:sldLayoutId id="2147484133" r:id="rId31"/>
    <p:sldLayoutId id="2147484134" r:id="rId32"/>
    <p:sldLayoutId id="2147484135" r:id="rId33"/>
    <p:sldLayoutId id="2147484136" r:id="rId34"/>
    <p:sldLayoutId id="2147484137" r:id="rId35"/>
    <p:sldLayoutId id="2147484138" r:id="rId36"/>
    <p:sldLayoutId id="2147484139" r:id="rId37"/>
    <p:sldLayoutId id="2147484140" r:id="rId38"/>
    <p:sldLayoutId id="2147484141" r:id="rId39"/>
    <p:sldLayoutId id="2147484142" r:id="rId40"/>
    <p:sldLayoutId id="2147484143" r:id="rId41"/>
    <p:sldLayoutId id="2147484144" r:id="rId42"/>
    <p:sldLayoutId id="2147484145" r:id="rId43"/>
    <p:sldLayoutId id="2147484146" r:id="rId44"/>
    <p:sldLayoutId id="2147484147" r:id="rId45"/>
    <p:sldLayoutId id="2147484148" r:id="rId46"/>
    <p:sldLayoutId id="2147484149" r:id="rId47"/>
    <p:sldLayoutId id="2147484150" r:id="rId48"/>
    <p:sldLayoutId id="2147484151" r:id="rId49"/>
    <p:sldLayoutId id="2147484152" r:id="rId50"/>
    <p:sldLayoutId id="2147484153" r:id="rId51"/>
    <p:sldLayoutId id="2147484154" r:id="rId52"/>
    <p:sldLayoutId id="2147484155" r:id="rId53"/>
    <p:sldLayoutId id="2147484156" r:id="rId54"/>
    <p:sldLayoutId id="2147484157" r:id="rId5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600"/>
        </a:spcBef>
        <a:buFont typeface="HPE Graphik" pitchFamily="50" charset="0"/>
        <a:buChar char="—"/>
        <a:tabLst>
          <a:tab pos="266700" algn="l"/>
        </a:tabLst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>
          <a:tab pos="1436688" algn="l"/>
        </a:tabLst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95750" indent="-285750" algn="l" defTabSz="914400" rtl="0" eaLnBrk="1" latinLnBrk="0" hangingPunct="1">
        <a:lnSpc>
          <a:spcPct val="90000"/>
        </a:lnSpc>
        <a:spcBef>
          <a:spcPts val="600"/>
        </a:spcBef>
        <a:buClrTx/>
        <a:buFontTx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8" orient="horz" pos="2160">
          <p15:clr>
            <a:srgbClr val="F26B43"/>
          </p15:clr>
        </p15:guide>
        <p15:guide id="49" pos="3840">
          <p15:clr>
            <a:srgbClr val="F26B43"/>
          </p15:clr>
        </p15:guide>
        <p15:guide id="51" pos="236">
          <p15:clr>
            <a:srgbClr val="F26B43"/>
          </p15:clr>
        </p15:guide>
        <p15:guide id="52" pos="7439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orient="horz" pos="4128">
          <p15:clr>
            <a:srgbClr val="F26B43"/>
          </p15:clr>
        </p15:guide>
        <p15:guide id="55" orient="horz" pos="3812">
          <p15:clr>
            <a:srgbClr val="F26B43"/>
          </p15:clr>
        </p15:guide>
        <p15:guide id="57" orient="horz" pos="1210">
          <p15:clr>
            <a:srgbClr val="F26B43"/>
          </p15:clr>
        </p15:guide>
        <p15:guide id="63" pos="796">
          <p15:clr>
            <a:srgbClr val="F26B43"/>
          </p15:clr>
        </p15:guide>
        <p15:guide id="64" pos="844">
          <p15:clr>
            <a:srgbClr val="F26B43"/>
          </p15:clr>
        </p15:guide>
        <p15:guide id="65" pos="1400">
          <p15:clr>
            <a:srgbClr val="F26B43"/>
          </p15:clr>
        </p15:guide>
        <p15:guide id="66" pos="1444">
          <p15:clr>
            <a:srgbClr val="F26B43"/>
          </p15:clr>
        </p15:guide>
        <p15:guide id="67" pos="2004">
          <p15:clr>
            <a:srgbClr val="F26B43"/>
          </p15:clr>
        </p15:guide>
        <p15:guide id="68" pos="2048">
          <p15:clr>
            <a:srgbClr val="F26B43"/>
          </p15:clr>
        </p15:guide>
        <p15:guide id="69" pos="2608">
          <p15:clr>
            <a:srgbClr val="F26B43"/>
          </p15:clr>
        </p15:guide>
        <p15:guide id="70" pos="2656">
          <p15:clr>
            <a:srgbClr val="F26B43"/>
          </p15:clr>
        </p15:guide>
        <p15:guide id="71" pos="3208">
          <p15:clr>
            <a:srgbClr val="F26B43"/>
          </p15:clr>
        </p15:guide>
        <p15:guide id="72" pos="3256">
          <p15:clr>
            <a:srgbClr val="F26B43"/>
          </p15:clr>
        </p15:guide>
        <p15:guide id="73" pos="3812">
          <p15:clr>
            <a:srgbClr val="F26B43"/>
          </p15:clr>
        </p15:guide>
        <p15:guide id="74" pos="3864">
          <p15:clr>
            <a:srgbClr val="F26B43"/>
          </p15:clr>
        </p15:guide>
        <p15:guide id="75" pos="4416">
          <p15:clr>
            <a:srgbClr val="F26B43"/>
          </p15:clr>
        </p15:guide>
        <p15:guide id="76" pos="4468">
          <p15:clr>
            <a:srgbClr val="F26B43"/>
          </p15:clr>
        </p15:guide>
        <p15:guide id="77" pos="5020">
          <p15:clr>
            <a:srgbClr val="F26B43"/>
          </p15:clr>
        </p15:guide>
        <p15:guide id="78" pos="5068">
          <p15:clr>
            <a:srgbClr val="F26B43"/>
          </p15:clr>
        </p15:guide>
        <p15:guide id="79" pos="5624">
          <p15:clr>
            <a:srgbClr val="F26B43"/>
          </p15:clr>
        </p15:guide>
        <p15:guide id="80" pos="5676">
          <p15:clr>
            <a:srgbClr val="F26B43"/>
          </p15:clr>
        </p15:guide>
        <p15:guide id="81" pos="6232">
          <p15:clr>
            <a:srgbClr val="F26B43"/>
          </p15:clr>
        </p15:guide>
        <p15:guide id="82" pos="6280">
          <p15:clr>
            <a:srgbClr val="F26B43"/>
          </p15:clr>
        </p15:guide>
        <p15:guide id="83" pos="6832">
          <p15:clr>
            <a:srgbClr val="F26B43"/>
          </p15:clr>
        </p15:guide>
        <p15:guide id="84" pos="6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431158D-A106-CE03-6923-2B4E4D404D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/>
            <a:r>
              <a:rPr lang="en-US" dirty="0"/>
              <a:t>Confidential | Authorized HPE Partner Use Onl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4DC5938-6D36-21B7-F872-6BCB94D47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043631-7822-A301-66DC-B119C491D00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Liam Di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45F95F-38D5-9024-0FB2-8494C129CD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 vert="horz" lIns="0" tIns="45720" rIns="0" bIns="45720" rtlCol="0" anchor="t">
            <a:noAutofit/>
          </a:bodyPr>
          <a:lstStyle/>
          <a:p>
            <a:r>
              <a:rPr lang="en-GB" dirty="0"/>
              <a:t>October 202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157B29-C5C2-E21E-E17D-F115B8C36F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903" y="1648141"/>
            <a:ext cx="10012359" cy="1577109"/>
          </a:xfrm>
        </p:spPr>
        <p:txBody>
          <a:bodyPr/>
          <a:lstStyle/>
          <a:p>
            <a:r>
              <a:rPr lang="en-US" dirty="0"/>
              <a:t>HPE Agentic AI OS</a:t>
            </a:r>
            <a:endParaRPr lang="en-GB" dirty="0"/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CC912988-EA8E-FA72-FDAF-5921E1C09C7B}"/>
              </a:ext>
            </a:extLst>
          </p:cNvPr>
          <p:cNvSpPr txBox="1">
            <a:spLocks/>
          </p:cNvSpPr>
          <p:nvPr/>
        </p:nvSpPr>
        <p:spPr>
          <a:xfrm>
            <a:off x="290746" y="4577983"/>
            <a:ext cx="7969333" cy="43891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HPE Graphik" pitchFamily="50" charset="0"/>
              <a:buChar char="—"/>
              <a:tabLst>
                <a:tab pos="266700" algn="l"/>
              </a:tabLst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436688" algn="l"/>
              </a:tabLst>
              <a:defRPr sz="14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4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57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Tx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/>
          </a:p>
          <a:p>
            <a:endParaRPr lang="en-US" sz="2000" i="1"/>
          </a:p>
          <a:p>
            <a:endParaRPr lang="en-US"/>
          </a:p>
          <a:p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BF6E00-002D-C4B3-4492-7405DE5D0AE0}"/>
              </a:ext>
            </a:extLst>
          </p:cNvPr>
          <p:cNvSpPr txBox="1"/>
          <p:nvPr/>
        </p:nvSpPr>
        <p:spPr>
          <a:xfrm>
            <a:off x="6096000" y="3109211"/>
            <a:ext cx="914400" cy="914400"/>
          </a:xfrm>
          <a:prstGeom prst="rect">
            <a:avLst/>
          </a:prstGeom>
          <a:noFill/>
          <a:ln w="38100">
            <a:noFill/>
          </a:ln>
        </p:spPr>
        <p:txBody>
          <a:bodyPr wrap="none" lIns="90170" tIns="90170" rIns="90170" bIns="90170" rtlCol="0">
            <a:no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709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cH8r8ZF8.fmhDN.1ii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cH8r8ZF8.fmhDN.1iiJA"/>
</p:tagLst>
</file>

<file path=ppt/theme/theme1.xml><?xml version="1.0" encoding="utf-8"?>
<a:theme xmlns:a="http://schemas.openxmlformats.org/drawingml/2006/main" name="HPE Light Theme">
  <a:themeElements>
    <a:clrScheme name="HPE Light">
      <a:dk1>
        <a:srgbClr val="292D3A"/>
      </a:dk1>
      <a:lt1>
        <a:sysClr val="window" lastClr="FFFFFF"/>
      </a:lt1>
      <a:dk2>
        <a:srgbClr val="B1B9BE"/>
      </a:dk2>
      <a:lt2>
        <a:srgbClr val="535C66"/>
      </a:lt2>
      <a:accent1>
        <a:srgbClr val="01A982"/>
      </a:accent1>
      <a:accent2>
        <a:srgbClr val="7764FC"/>
      </a:accent2>
      <a:accent3>
        <a:srgbClr val="0070F8"/>
      </a:accent3>
      <a:accent4>
        <a:srgbClr val="00DBE4"/>
      </a:accent4>
      <a:accent5>
        <a:srgbClr val="873492"/>
      </a:accent5>
      <a:accent6>
        <a:srgbClr val="CC54A4"/>
      </a:accent6>
      <a:hlink>
        <a:srgbClr val="01A982"/>
      </a:hlink>
      <a:folHlink>
        <a:srgbClr val="7764FC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7625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38100">
          <a:noFill/>
        </a:ln>
      </a:spPr>
      <a:bodyPr wrap="square" lIns="90170" tIns="90170" rIns="90170" bIns="9017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DEB146"/>
    </a:custClr>
    <a:custClr name="HPE Red">
      <a:srgbClr val="C64F3A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 1">
      <a:srgbClr val="F7F7F7"/>
    </a:custClr>
    <a:custClr name="Light Gray 2">
      <a:srgbClr val="E6E8E9"/>
    </a:custClr>
  </a:custClrLst>
  <a:extLst>
    <a:ext uri="{05A4C25C-085E-4340-85A3-A5531E510DB2}">
      <thm15:themeFamily xmlns:thm15="http://schemas.microsoft.com/office/thememl/2012/main" name="Presentation1" id="{6D4A9D61-DCB0-42F3-B67D-DE8E89918B99}" vid="{F4DB0AD3-70C1-4120-9177-B6C4606FCF4F}"/>
    </a:ext>
  </a:extLst>
</a:theme>
</file>

<file path=ppt/theme/theme2.xml><?xml version="1.0" encoding="utf-8"?>
<a:theme xmlns:a="http://schemas.openxmlformats.org/drawingml/2006/main" name="1_HPE Light Theme">
  <a:themeElements>
    <a:clrScheme name="HPE Light">
      <a:dk1>
        <a:srgbClr val="292D3A"/>
      </a:dk1>
      <a:lt1>
        <a:sysClr val="window" lastClr="FFFFFF"/>
      </a:lt1>
      <a:dk2>
        <a:srgbClr val="B1B9BE"/>
      </a:dk2>
      <a:lt2>
        <a:srgbClr val="535C66"/>
      </a:lt2>
      <a:accent1>
        <a:srgbClr val="01A982"/>
      </a:accent1>
      <a:accent2>
        <a:srgbClr val="7764FC"/>
      </a:accent2>
      <a:accent3>
        <a:srgbClr val="0070F8"/>
      </a:accent3>
      <a:accent4>
        <a:srgbClr val="00DBE4"/>
      </a:accent4>
      <a:accent5>
        <a:srgbClr val="873492"/>
      </a:accent5>
      <a:accent6>
        <a:srgbClr val="CC54A4"/>
      </a:accent6>
      <a:hlink>
        <a:srgbClr val="01A982"/>
      </a:hlink>
      <a:folHlink>
        <a:srgbClr val="7764FC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7625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38100">
          <a:noFill/>
        </a:ln>
      </a:spPr>
      <a:bodyPr wrap="square" lIns="90170" tIns="90170" rIns="90170" bIns="9017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DEB146"/>
    </a:custClr>
    <a:custClr name="HPE Red">
      <a:srgbClr val="C64F3A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 1">
      <a:srgbClr val="F7F7F7"/>
    </a:custClr>
    <a:custClr name="Light Gray 2">
      <a:srgbClr val="E6E8E9"/>
    </a:custClr>
  </a:custClrLst>
  <a:extLst>
    <a:ext uri="{05A4C25C-085E-4340-85A3-A5531E510DB2}">
      <thm15:themeFamily xmlns:thm15="http://schemas.microsoft.com/office/thememl/2012/main" name="HPE-PowerPoint-Light-Standard-R5.potx" id="{5E11872E-B8EC-4D91-8D11-BD57491BCA92}" vid="{94255D62-316D-453F-B091-FC78B871730D}"/>
    </a:ext>
  </a:extLst>
</a:theme>
</file>

<file path=ppt/theme/theme3.xml><?xml version="1.0" encoding="utf-8"?>
<a:theme xmlns:a="http://schemas.openxmlformats.org/drawingml/2006/main" name="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DF83AC65-2CE5-5D47-AA70-DA80C915B537}" vid="{70ABDF16-605F-5047-8117-CEC0B0474E07}"/>
    </a:ext>
  </a:extLst>
</a:theme>
</file>

<file path=ppt/theme/theme4.xml><?xml version="1.0" encoding="utf-8"?>
<a:theme xmlns:a="http://schemas.openxmlformats.org/drawingml/2006/main" name="HPE Dark Theme">
  <a:themeElements>
    <a:clrScheme name="HPE Dark theme 250311">
      <a:dk1>
        <a:srgbClr val="292D3A"/>
      </a:dk1>
      <a:lt1>
        <a:sysClr val="window" lastClr="FFFFFF"/>
      </a:lt1>
      <a:dk2>
        <a:srgbClr val="292D3A"/>
      </a:dk2>
      <a:lt2>
        <a:srgbClr val="FFFFFF"/>
      </a:lt2>
      <a:accent1>
        <a:srgbClr val="00E0AF"/>
      </a:accent1>
      <a:accent2>
        <a:srgbClr val="9B84FC"/>
      </a:accent2>
      <a:accent3>
        <a:srgbClr val="65AEF9"/>
      </a:accent3>
      <a:accent4>
        <a:srgbClr val="62E5F6"/>
      </a:accent4>
      <a:accent5>
        <a:srgbClr val="C98AD4"/>
      </a:accent5>
      <a:accent6>
        <a:srgbClr val="DB72B8"/>
      </a:accent6>
      <a:hlink>
        <a:srgbClr val="65AEF9"/>
      </a:hlink>
      <a:folHlink>
        <a:srgbClr val="C98AD4"/>
      </a:folHlink>
    </a:clrScheme>
    <a:fontScheme name="HPE Graphik TTF">
      <a:majorFont>
        <a:latin typeface="HPE Graphik TT Semibold"/>
        <a:ea typeface=""/>
        <a:cs typeface=""/>
      </a:majorFont>
      <a:minorFont>
        <a:latin typeface="HPE Graphik 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rtlCol="0">
        <a:sp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F9CC61"/>
    </a:custClr>
    <a:custClr name="HPE Red">
      <a:srgbClr val="D25F4B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1">
      <a:srgbClr val="F7F7F7"/>
    </a:custClr>
    <a:custClr name="Light Gray2">
      <a:srgbClr val="E6E8E9"/>
    </a:custClr>
    <a:custClr name="Black">
      <a:srgbClr val="000000"/>
    </a:custClr>
  </a:custClrLst>
  <a:extLst>
    <a:ext uri="{05A4C25C-085E-4340-85A3-A5531E510DB2}">
      <thm15:themeFamily xmlns:thm15="http://schemas.microsoft.com/office/thememl/2012/main" name="AI-Native-Workload-Observability-01" id="{068837C5-1E8C-2047-A248-1041CA6B5C3B}" vid="{CD96EADE-D8A1-5D46-AEF3-B587503713D8}"/>
    </a:ext>
  </a:extLst>
</a:theme>
</file>

<file path=ppt/theme/theme5.xml><?xml version="1.0" encoding="utf-8"?>
<a:theme xmlns:a="http://schemas.openxmlformats.org/drawingml/2006/main" name="1_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-standard-16x9-white-template-1657872101277 (1)" id="{94057C68-9211-214A-A7E1-B251F7033FA5}" vid="{6B9E648D-BACE-9E49-BB5C-E2C293916144}"/>
    </a:ext>
  </a:extLst>
</a:theme>
</file>

<file path=ppt/theme/theme6.xml><?xml version="1.0" encoding="utf-8"?>
<a:theme xmlns:a="http://schemas.openxmlformats.org/drawingml/2006/main" name="2_HPE Light Theme">
  <a:themeElements>
    <a:clrScheme name="HPE Light">
      <a:dk1>
        <a:srgbClr val="292D3A"/>
      </a:dk1>
      <a:lt1>
        <a:sysClr val="window" lastClr="FFFFFF"/>
      </a:lt1>
      <a:dk2>
        <a:srgbClr val="B1B9BE"/>
      </a:dk2>
      <a:lt2>
        <a:srgbClr val="535C66"/>
      </a:lt2>
      <a:accent1>
        <a:srgbClr val="01A982"/>
      </a:accent1>
      <a:accent2>
        <a:srgbClr val="7764FC"/>
      </a:accent2>
      <a:accent3>
        <a:srgbClr val="0070F8"/>
      </a:accent3>
      <a:accent4>
        <a:srgbClr val="00DBE4"/>
      </a:accent4>
      <a:accent5>
        <a:srgbClr val="873492"/>
      </a:accent5>
      <a:accent6>
        <a:srgbClr val="CC54A4"/>
      </a:accent6>
      <a:hlink>
        <a:srgbClr val="01A982"/>
      </a:hlink>
      <a:folHlink>
        <a:srgbClr val="7764FC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7625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38100">
          <a:noFill/>
        </a:ln>
      </a:spPr>
      <a:bodyPr wrap="square" lIns="90170" tIns="90170" rIns="90170" bIns="9017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DEB146"/>
    </a:custClr>
    <a:custClr name="HPE Red">
      <a:srgbClr val="C64F3A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 1">
      <a:srgbClr val="F7F7F7"/>
    </a:custClr>
    <a:custClr name="Light Gray 2">
      <a:srgbClr val="E6E8E9"/>
    </a:custClr>
  </a:custClrLst>
  <a:extLst>
    <a:ext uri="{05A4C25C-085E-4340-85A3-A5531E510DB2}">
      <thm15:themeFamily xmlns:thm15="http://schemas.microsoft.com/office/thememl/2012/main" name="HPE-PowerPoint-Light-Inspirational-R8" id="{99F2B85A-A9A4-4943-B1A5-B7DA5BD81815}" vid="{5D8E4938-F1F3-4240-BB07-3E8377B9C19D}"/>
    </a:ext>
  </a:extLst>
</a:theme>
</file>

<file path=ppt/theme/theme7.xml><?xml version="1.0" encoding="utf-8"?>
<a:theme xmlns:a="http://schemas.openxmlformats.org/drawingml/2006/main" name="3_HPE Light Theme">
  <a:themeElements>
    <a:clrScheme name="HPE Light">
      <a:dk1>
        <a:srgbClr val="292D3A"/>
      </a:dk1>
      <a:lt1>
        <a:sysClr val="window" lastClr="FFFFFF"/>
      </a:lt1>
      <a:dk2>
        <a:srgbClr val="B1B9BE"/>
      </a:dk2>
      <a:lt2>
        <a:srgbClr val="535C66"/>
      </a:lt2>
      <a:accent1>
        <a:srgbClr val="01A982"/>
      </a:accent1>
      <a:accent2>
        <a:srgbClr val="7764FC"/>
      </a:accent2>
      <a:accent3>
        <a:srgbClr val="0070F8"/>
      </a:accent3>
      <a:accent4>
        <a:srgbClr val="00DBE4"/>
      </a:accent4>
      <a:accent5>
        <a:srgbClr val="873492"/>
      </a:accent5>
      <a:accent6>
        <a:srgbClr val="CC54A4"/>
      </a:accent6>
      <a:hlink>
        <a:srgbClr val="01A982"/>
      </a:hlink>
      <a:folHlink>
        <a:srgbClr val="7764FC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7625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38100">
          <a:noFill/>
        </a:ln>
      </a:spPr>
      <a:bodyPr wrap="square" lIns="90170" tIns="90170" rIns="90170" bIns="9017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DEB146"/>
    </a:custClr>
    <a:custClr name="HPE Red">
      <a:srgbClr val="C64F3A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 1">
      <a:srgbClr val="F7F7F7"/>
    </a:custClr>
    <a:custClr name="Light Gray 2">
      <a:srgbClr val="E6E8E9"/>
    </a:custClr>
  </a:custClrLst>
  <a:extLst>
    <a:ext uri="{05A4C25C-085E-4340-85A3-A5531E510DB2}">
      <thm15:themeFamily xmlns:thm15="http://schemas.microsoft.com/office/thememl/2012/main" name="Presentation1" id="{6D4A9D61-DCB0-42F3-B67D-DE8E89918B99}" vid="{F4DB0AD3-70C1-4120-9177-B6C4606FCF4F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HPE Dark theme 250311">
    <a:dk1>
      <a:srgbClr val="292D3A"/>
    </a:dk1>
    <a:lt1>
      <a:sysClr val="window" lastClr="FFFFFF"/>
    </a:lt1>
    <a:dk2>
      <a:srgbClr val="292D3A"/>
    </a:dk2>
    <a:lt2>
      <a:srgbClr val="FFFFFF"/>
    </a:lt2>
    <a:accent1>
      <a:srgbClr val="00E0AF"/>
    </a:accent1>
    <a:accent2>
      <a:srgbClr val="9B84FC"/>
    </a:accent2>
    <a:accent3>
      <a:srgbClr val="65AEF9"/>
    </a:accent3>
    <a:accent4>
      <a:srgbClr val="62E5F6"/>
    </a:accent4>
    <a:accent5>
      <a:srgbClr val="C98AD4"/>
    </a:accent5>
    <a:accent6>
      <a:srgbClr val="DB72B8"/>
    </a:accent6>
    <a:hlink>
      <a:srgbClr val="65AEF9"/>
    </a:hlink>
    <a:folHlink>
      <a:srgbClr val="C98AD4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CE04CC3478A24493B845FE78E43281" ma:contentTypeVersion="8" ma:contentTypeDescription="Create a new document." ma:contentTypeScope="" ma:versionID="8051706c4f60c893b8acda9f079e2c37">
  <xsd:schema xmlns:xsd="http://www.w3.org/2001/XMLSchema" xmlns:xs="http://www.w3.org/2001/XMLSchema" xmlns:p="http://schemas.microsoft.com/office/2006/metadata/properties" xmlns:ns2="f8c6c016-b3f2-42e6-ba60-cc6d4e8b2cc4" targetNamespace="http://schemas.microsoft.com/office/2006/metadata/properties" ma:root="true" ma:fieldsID="f990b7f83a594b53cdf68fd86b5517fc" ns2:_="">
    <xsd:import namespace="f8c6c016-b3f2-42e6-ba60-cc6d4e8b2cc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c6c016-b3f2-42e6-ba60-cc6d4e8b2c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1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3958DC6-5C23-4AE0-B6AA-A4452D5FB2AB}">
  <ds:schemaRefs>
    <ds:schemaRef ds:uri="f8c6c016-b3f2-42e6-ba60-cc6d4e8b2cc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8CB6EE2-63DB-4904-AF0B-6F70C92F77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c6c016-b3f2-42e6-ba60-cc6d4e8b2cc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CC0593A-7F70-4F4D-8531-3B3C40A63BD7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105b2061-b669-4b31-92ac-24d304d195dc}" enabled="0" method="" siteId="{105b2061-b669-4b31-92ac-24d304d195d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genticOSPlatform-InfraAgent-WorkgroupUpdate-Aug2025</Template>
  <TotalTime>36</TotalTime>
  <Words>17</Words>
  <Application>Microsoft Macintosh PowerPoint</Application>
  <PresentationFormat>Widescreen</PresentationFormat>
  <Paragraphs>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7" baseType="lpstr">
      <vt:lpstr>Graphik Light</vt:lpstr>
      <vt:lpstr>Aptos</vt:lpstr>
      <vt:lpstr>Arial</vt:lpstr>
      <vt:lpstr>HPE Graphik</vt:lpstr>
      <vt:lpstr>HPE Graphik Light</vt:lpstr>
      <vt:lpstr>HPE Graphik Semibold</vt:lpstr>
      <vt:lpstr>MetricHPE</vt:lpstr>
      <vt:lpstr>MetricHPE Black</vt:lpstr>
      <vt:lpstr>HPE Light Theme</vt:lpstr>
      <vt:lpstr>1_HPE Light Theme</vt:lpstr>
      <vt:lpstr>HPE Standard 16x9 White Template</vt:lpstr>
      <vt:lpstr>HPE Dark Theme</vt:lpstr>
      <vt:lpstr>1_HPE Standard 16x9 White Template</vt:lpstr>
      <vt:lpstr>2_HPE Light Theme</vt:lpstr>
      <vt:lpstr>3_HPE Light Theme</vt:lpstr>
      <vt:lpstr>think-cell Slide</vt:lpstr>
      <vt:lpstr>HPE Agentic AI O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hattacharya, Suparna</dc:creator>
  <cp:lastModifiedBy>Bill Hsu</cp:lastModifiedBy>
  <cp:revision>39</cp:revision>
  <dcterms:created xsi:type="dcterms:W3CDTF">2025-08-26T07:46:13Z</dcterms:created>
  <dcterms:modified xsi:type="dcterms:W3CDTF">2025-12-30T08:55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CE04CC3478A24493B845FE78E43281</vt:lpwstr>
  </property>
</Properties>
</file>